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3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notesSlides/notesSlide6.xml" ContentType="application/vnd.openxmlformats-officedocument.presentationml.notesSlide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notesSlides/notesSlide9.xml" ContentType="application/vnd.openxmlformats-officedocument.presentationml.notesSlide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notesSlides/notesSlide13.xml" ContentType="application/vnd.openxmlformats-officedocument.presentationml.notesSlide+xml"/>
  <Override PartName="/ppt/diagrams/data24.xml" ContentType="application/vnd.openxmlformats-officedocument.drawingml.diagramData+xml"/>
  <Override PartName="/ppt/diagrams/layout24.xml" ContentType="application/vnd.openxmlformats-officedocument.drawingml.diagramLayout+xml"/>
  <Override PartName="/ppt/diagrams/quickStyle24.xml" ContentType="application/vnd.openxmlformats-officedocument.drawingml.diagramStyle+xml"/>
  <Override PartName="/ppt/diagrams/colors24.xml" ContentType="application/vnd.openxmlformats-officedocument.drawingml.diagramColors+xml"/>
  <Override PartName="/ppt/diagrams/drawing24.xml" ContentType="application/vnd.ms-office.drawingml.diagramDrawing+xml"/>
  <Override PartName="/ppt/diagrams/data25.xml" ContentType="application/vnd.openxmlformats-officedocument.drawingml.diagramData+xml"/>
  <Override PartName="/ppt/diagrams/layout25.xml" ContentType="application/vnd.openxmlformats-officedocument.drawingml.diagramLayout+xml"/>
  <Override PartName="/ppt/diagrams/quickStyle25.xml" ContentType="application/vnd.openxmlformats-officedocument.drawingml.diagramStyle+xml"/>
  <Override PartName="/ppt/diagrams/colors25.xml" ContentType="application/vnd.openxmlformats-officedocument.drawingml.diagramColors+xml"/>
  <Override PartName="/ppt/diagrams/drawing25.xml" ContentType="application/vnd.ms-office.drawingml.diagramDrawing+xml"/>
  <Override PartName="/ppt/diagrams/data26.xml" ContentType="application/vnd.openxmlformats-officedocument.drawingml.diagramData+xml"/>
  <Override PartName="/ppt/diagrams/layout26.xml" ContentType="application/vnd.openxmlformats-officedocument.drawingml.diagramLayout+xml"/>
  <Override PartName="/ppt/diagrams/quickStyle26.xml" ContentType="application/vnd.openxmlformats-officedocument.drawingml.diagramStyle+xml"/>
  <Override PartName="/ppt/diagrams/colors26.xml" ContentType="application/vnd.openxmlformats-officedocument.drawingml.diagramColors+xml"/>
  <Override PartName="/ppt/diagrams/drawing26.xml" ContentType="application/vnd.ms-office.drawingml.diagramDrawing+xml"/>
  <Override PartName="/ppt/diagrams/data27.xml" ContentType="application/vnd.openxmlformats-officedocument.drawingml.diagramData+xml"/>
  <Override PartName="/ppt/diagrams/layout27.xml" ContentType="application/vnd.openxmlformats-officedocument.drawingml.diagramLayout+xml"/>
  <Override PartName="/ppt/diagrams/quickStyle27.xml" ContentType="application/vnd.openxmlformats-officedocument.drawingml.diagramStyle+xml"/>
  <Override PartName="/ppt/diagrams/colors27.xml" ContentType="application/vnd.openxmlformats-officedocument.drawingml.diagramColors+xml"/>
  <Override PartName="/ppt/diagrams/drawing27.xml" ContentType="application/vnd.ms-office.drawingml.diagramDrawing+xml"/>
  <Override PartName="/ppt/notesSlides/notesSlide14.xml" ContentType="application/vnd.openxmlformats-officedocument.presentationml.notesSlide+xml"/>
  <Override PartName="/ppt/diagrams/data28.xml" ContentType="application/vnd.openxmlformats-officedocument.drawingml.diagramData+xml"/>
  <Override PartName="/ppt/diagrams/layout28.xml" ContentType="application/vnd.openxmlformats-officedocument.drawingml.diagramLayout+xml"/>
  <Override PartName="/ppt/diagrams/quickStyle28.xml" ContentType="application/vnd.openxmlformats-officedocument.drawingml.diagramStyle+xml"/>
  <Override PartName="/ppt/diagrams/colors28.xml" ContentType="application/vnd.openxmlformats-officedocument.drawingml.diagramColors+xml"/>
  <Override PartName="/ppt/diagrams/drawing28.xml" ContentType="application/vnd.ms-office.drawingml.diagramDrawing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diagrams/data29.xml" ContentType="application/vnd.openxmlformats-officedocument.drawingml.diagramData+xml"/>
  <Override PartName="/ppt/diagrams/layout29.xml" ContentType="application/vnd.openxmlformats-officedocument.drawingml.diagramLayout+xml"/>
  <Override PartName="/ppt/diagrams/quickStyle29.xml" ContentType="application/vnd.openxmlformats-officedocument.drawingml.diagramStyle+xml"/>
  <Override PartName="/ppt/diagrams/colors29.xml" ContentType="application/vnd.openxmlformats-officedocument.drawingml.diagramColors+xml"/>
  <Override PartName="/ppt/diagrams/drawing29.xml" ContentType="application/vnd.ms-office.drawingml.diagramDrawing+xml"/>
  <Override PartName="/ppt/diagrams/data30.xml" ContentType="application/vnd.openxmlformats-officedocument.drawingml.diagramData+xml"/>
  <Override PartName="/ppt/diagrams/layout30.xml" ContentType="application/vnd.openxmlformats-officedocument.drawingml.diagramLayout+xml"/>
  <Override PartName="/ppt/diagrams/quickStyle30.xml" ContentType="application/vnd.openxmlformats-officedocument.drawingml.diagramStyle+xml"/>
  <Override PartName="/ppt/diagrams/colors30.xml" ContentType="application/vnd.openxmlformats-officedocument.drawingml.diagramColors+xml"/>
  <Override PartName="/ppt/diagrams/drawing30.xml" ContentType="application/vnd.ms-office.drawingml.diagramDrawing+xml"/>
  <Override PartName="/ppt/diagrams/data31.xml" ContentType="application/vnd.openxmlformats-officedocument.drawingml.diagramData+xml"/>
  <Override PartName="/ppt/diagrams/layout31.xml" ContentType="application/vnd.openxmlformats-officedocument.drawingml.diagramLayout+xml"/>
  <Override PartName="/ppt/diagrams/quickStyle31.xml" ContentType="application/vnd.openxmlformats-officedocument.drawingml.diagramStyle+xml"/>
  <Override PartName="/ppt/diagrams/colors31.xml" ContentType="application/vnd.openxmlformats-officedocument.drawingml.diagramColors+xml"/>
  <Override PartName="/ppt/diagrams/drawing31.xml" ContentType="application/vnd.ms-office.drawingml.diagramDrawing+xml"/>
  <Override PartName="/ppt/tags/tag18.xml" ContentType="application/vnd.openxmlformats-officedocument.presentationml.tags+xml"/>
  <Override PartName="/ppt/diagrams/data32.xml" ContentType="application/vnd.openxmlformats-officedocument.drawingml.diagramData+xml"/>
  <Override PartName="/ppt/diagrams/layout32.xml" ContentType="application/vnd.openxmlformats-officedocument.drawingml.diagramLayout+xml"/>
  <Override PartName="/ppt/diagrams/quickStyle32.xml" ContentType="application/vnd.openxmlformats-officedocument.drawingml.diagramStyle+xml"/>
  <Override PartName="/ppt/diagrams/colors32.xml" ContentType="application/vnd.openxmlformats-officedocument.drawingml.diagramColors+xml"/>
  <Override PartName="/ppt/diagrams/drawing32.xml" ContentType="application/vnd.ms-office.drawingml.diagramDrawing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6.xml" ContentType="application/vnd.openxmlformats-officedocument.presentationml.notesSlide+xml"/>
  <Override PartName="/ppt/diagrams/data33.xml" ContentType="application/vnd.openxmlformats-officedocument.drawingml.diagramData+xml"/>
  <Override PartName="/ppt/diagrams/layout33.xml" ContentType="application/vnd.openxmlformats-officedocument.drawingml.diagramLayout+xml"/>
  <Override PartName="/ppt/diagrams/quickStyle33.xml" ContentType="application/vnd.openxmlformats-officedocument.drawingml.diagramStyle+xml"/>
  <Override PartName="/ppt/diagrams/colors33.xml" ContentType="application/vnd.openxmlformats-officedocument.drawingml.diagramColors+xml"/>
  <Override PartName="/ppt/diagrams/drawing33.xml" ContentType="application/vnd.ms-office.drawingml.diagramDrawing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90"/>
  </p:notesMasterIdLst>
  <p:sldIdLst>
    <p:sldId id="256" r:id="rId2"/>
    <p:sldId id="1186" r:id="rId3"/>
    <p:sldId id="513" r:id="rId4"/>
    <p:sldId id="1391" r:id="rId5"/>
    <p:sldId id="1285" r:id="rId6"/>
    <p:sldId id="1385" r:id="rId7"/>
    <p:sldId id="1352" r:id="rId8"/>
    <p:sldId id="1346" r:id="rId9"/>
    <p:sldId id="487" r:id="rId10"/>
    <p:sldId id="537" r:id="rId11"/>
    <p:sldId id="1286" r:id="rId12"/>
    <p:sldId id="1345" r:id="rId13"/>
    <p:sldId id="552" r:id="rId14"/>
    <p:sldId id="1289" r:id="rId15"/>
    <p:sldId id="1390" r:id="rId16"/>
    <p:sldId id="497" r:id="rId17"/>
    <p:sldId id="353" r:id="rId18"/>
    <p:sldId id="1353" r:id="rId19"/>
    <p:sldId id="1354" r:id="rId20"/>
    <p:sldId id="517" r:id="rId21"/>
    <p:sldId id="518" r:id="rId22"/>
    <p:sldId id="519" r:id="rId23"/>
    <p:sldId id="1392" r:id="rId24"/>
    <p:sldId id="549" r:id="rId25"/>
    <p:sldId id="550" r:id="rId26"/>
    <p:sldId id="551" r:id="rId27"/>
    <p:sldId id="556" r:id="rId28"/>
    <p:sldId id="1038" r:id="rId29"/>
    <p:sldId id="313" r:id="rId30"/>
    <p:sldId id="1245" r:id="rId31"/>
    <p:sldId id="520" r:id="rId32"/>
    <p:sldId id="521" r:id="rId33"/>
    <p:sldId id="522" r:id="rId34"/>
    <p:sldId id="314" r:id="rId35"/>
    <p:sldId id="1386" r:id="rId36"/>
    <p:sldId id="1387" r:id="rId37"/>
    <p:sldId id="1388" r:id="rId38"/>
    <p:sldId id="1196" r:id="rId39"/>
    <p:sldId id="1201" r:id="rId40"/>
    <p:sldId id="1200" r:id="rId41"/>
    <p:sldId id="1202" r:id="rId42"/>
    <p:sldId id="1192" r:id="rId43"/>
    <p:sldId id="321" r:id="rId44"/>
    <p:sldId id="319" r:id="rId45"/>
    <p:sldId id="271" r:id="rId46"/>
    <p:sldId id="324" r:id="rId47"/>
    <p:sldId id="1191" r:id="rId48"/>
    <p:sldId id="1356" r:id="rId49"/>
    <p:sldId id="1357" r:id="rId50"/>
    <p:sldId id="1358" r:id="rId51"/>
    <p:sldId id="1359" r:id="rId52"/>
    <p:sldId id="1360" r:id="rId53"/>
    <p:sldId id="1361" r:id="rId54"/>
    <p:sldId id="1362" r:id="rId55"/>
    <p:sldId id="557" r:id="rId56"/>
    <p:sldId id="558" r:id="rId57"/>
    <p:sldId id="559" r:id="rId58"/>
    <p:sldId id="1389" r:id="rId59"/>
    <p:sldId id="507" r:id="rId60"/>
    <p:sldId id="508" r:id="rId61"/>
    <p:sldId id="511" r:id="rId62"/>
    <p:sldId id="499" r:id="rId63"/>
    <p:sldId id="1363" r:id="rId64"/>
    <p:sldId id="1364" r:id="rId65"/>
    <p:sldId id="501" r:id="rId66"/>
    <p:sldId id="494" r:id="rId67"/>
    <p:sldId id="515" r:id="rId68"/>
    <p:sldId id="516" r:id="rId69"/>
    <p:sldId id="1366" r:id="rId70"/>
    <p:sldId id="1367" r:id="rId71"/>
    <p:sldId id="1368" r:id="rId72"/>
    <p:sldId id="1369" r:id="rId73"/>
    <p:sldId id="1370" r:id="rId74"/>
    <p:sldId id="1371" r:id="rId75"/>
    <p:sldId id="1372" r:id="rId76"/>
    <p:sldId id="1373" r:id="rId77"/>
    <p:sldId id="1374" r:id="rId78"/>
    <p:sldId id="1375" r:id="rId79"/>
    <p:sldId id="1376" r:id="rId80"/>
    <p:sldId id="1377" r:id="rId81"/>
    <p:sldId id="1393" r:id="rId82"/>
    <p:sldId id="1378" r:id="rId83"/>
    <p:sldId id="1379" r:id="rId84"/>
    <p:sldId id="282" r:id="rId85"/>
    <p:sldId id="1380" r:id="rId86"/>
    <p:sldId id="284" r:id="rId87"/>
    <p:sldId id="285" r:id="rId88"/>
    <p:sldId id="1394" r:id="rId89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hần Mặc định" id="{DE65B4C3-0D07-4B4D-A492-3EA107652AA9}">
          <p14:sldIdLst>
            <p14:sldId id="256"/>
            <p14:sldId id="1186"/>
            <p14:sldId id="513"/>
            <p14:sldId id="1391"/>
            <p14:sldId id="1285"/>
            <p14:sldId id="1385"/>
            <p14:sldId id="1352"/>
            <p14:sldId id="1346"/>
            <p14:sldId id="487"/>
            <p14:sldId id="537"/>
            <p14:sldId id="1286"/>
            <p14:sldId id="1345"/>
            <p14:sldId id="552"/>
            <p14:sldId id="1289"/>
            <p14:sldId id="1390"/>
            <p14:sldId id="497"/>
            <p14:sldId id="353"/>
            <p14:sldId id="1353"/>
            <p14:sldId id="1354"/>
            <p14:sldId id="517"/>
            <p14:sldId id="518"/>
            <p14:sldId id="519"/>
            <p14:sldId id="1392"/>
            <p14:sldId id="549"/>
            <p14:sldId id="550"/>
            <p14:sldId id="551"/>
            <p14:sldId id="556"/>
            <p14:sldId id="1038"/>
            <p14:sldId id="313"/>
            <p14:sldId id="1245"/>
            <p14:sldId id="520"/>
            <p14:sldId id="521"/>
            <p14:sldId id="522"/>
            <p14:sldId id="314"/>
            <p14:sldId id="1386"/>
            <p14:sldId id="1387"/>
            <p14:sldId id="1388"/>
            <p14:sldId id="1196"/>
            <p14:sldId id="1201"/>
            <p14:sldId id="1200"/>
            <p14:sldId id="1202"/>
            <p14:sldId id="1192"/>
            <p14:sldId id="321"/>
            <p14:sldId id="319"/>
            <p14:sldId id="271"/>
            <p14:sldId id="324"/>
            <p14:sldId id="1191"/>
            <p14:sldId id="1356"/>
            <p14:sldId id="1357"/>
            <p14:sldId id="1358"/>
            <p14:sldId id="1359"/>
            <p14:sldId id="1360"/>
            <p14:sldId id="1361"/>
            <p14:sldId id="1362"/>
            <p14:sldId id="557"/>
            <p14:sldId id="558"/>
            <p14:sldId id="559"/>
            <p14:sldId id="1389"/>
            <p14:sldId id="507"/>
            <p14:sldId id="508"/>
            <p14:sldId id="511"/>
            <p14:sldId id="499"/>
            <p14:sldId id="1363"/>
            <p14:sldId id="1364"/>
            <p14:sldId id="501"/>
            <p14:sldId id="494"/>
            <p14:sldId id="515"/>
            <p14:sldId id="516"/>
            <p14:sldId id="1366"/>
            <p14:sldId id="1367"/>
            <p14:sldId id="1368"/>
            <p14:sldId id="1369"/>
            <p14:sldId id="1370"/>
            <p14:sldId id="1371"/>
            <p14:sldId id="1372"/>
            <p14:sldId id="1373"/>
            <p14:sldId id="1374"/>
            <p14:sldId id="1375"/>
            <p14:sldId id="1376"/>
            <p14:sldId id="1377"/>
            <p14:sldId id="1393"/>
            <p14:sldId id="1378"/>
            <p14:sldId id="1379"/>
            <p14:sldId id="282"/>
            <p14:sldId id="1380"/>
            <p14:sldId id="284"/>
            <p14:sldId id="285"/>
            <p14:sldId id="1394"/>
          </p14:sldIdLst>
        </p14:section>
        <p14:section name="Mục Chưa có tên" id="{7E846A1C-CED9-4255-B29D-C765F858AAAA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iểu Trung bình 2 - Màu chủ đề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Kiểu Trung bình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2602" autoAdjust="0"/>
    <p:restoredTop sz="94660"/>
  </p:normalViewPr>
  <p:slideViewPr>
    <p:cSldViewPr snapToGrid="0">
      <p:cViewPr varScale="1">
        <p:scale>
          <a:sx n="63" d="100"/>
          <a:sy n="63" d="100"/>
        </p:scale>
        <p:origin x="128" y="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notesMaster" Target="notesMasters/notesMaster1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viewProps" Target="viewProps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colorful1#3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colorful1#4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colorful1#5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6_4">
  <dgm:title val=""/>
  <dgm:desc val=""/>
  <dgm:catLst>
    <dgm:cat type="accent6" pri="11400"/>
  </dgm:catLst>
  <dgm:styleLbl name="node0">
    <dgm:fillClrLst meth="cycle">
      <a:schemeClr val="accent6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6">
        <a:shade val="50000"/>
      </a:schemeClr>
      <a:schemeClr val="accent6">
        <a:tint val="55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/>
    <dgm:txEffectClrLst/>
  </dgm:styleLbl>
  <dgm:styleLbl name="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cycle">
      <a:schemeClr val="accent6">
        <a:shade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6">
        <a:shade val="80000"/>
        <a:alpha val="5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6">
        <a:shade val="90000"/>
      </a:schemeClr>
      <a:schemeClr val="accent6">
        <a:tint val="50000"/>
      </a:schemeClr>
    </dgm:fillClrLst>
    <dgm:linClrLst meth="cycle"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6">
        <a:shade val="50000"/>
      </a:schemeClr>
      <a:schemeClr val="accent6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55000"/>
      </a:schemeClr>
    </dgm:fillClrLst>
    <dgm:linClrLst meth="repeat">
      <a:schemeClr val="accent6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55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EE99E24-28FB-4C0E-91D1-FF618A1BA8A3}" type="doc">
      <dgm:prSet loTypeId="urn:microsoft.com/office/officeart/2008/layout/LinedList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B22BBE22-C807-4A3F-8E84-53B0271EB822}">
      <dgm:prSet phldrT="[Văn bản]"/>
      <dgm:spPr/>
      <dgm:t>
        <a:bodyPr/>
        <a:lstStyle/>
        <a:p>
          <a:r>
            <a:rPr lang="en-US" dirty="0" err="1">
              <a:latin typeface="Times New Roman" pitchFamily="18" charset="0"/>
              <a:cs typeface="Times New Roman" pitchFamily="18" charset="0"/>
            </a:rPr>
            <a:t>Tính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dễ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bị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ổn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hương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C9108D22-B08A-48F6-8A0B-72D3A0B1722E}" type="parTrans" cxnId="{0AE6E4DF-BF33-4476-B2C2-5A476C4F251D}">
      <dgm:prSet/>
      <dgm:spPr/>
      <dgm:t>
        <a:bodyPr/>
        <a:lstStyle/>
        <a:p>
          <a:endParaRPr lang="en-US"/>
        </a:p>
      </dgm:t>
    </dgm:pt>
    <dgm:pt modelId="{6C5D56CC-D3E0-4203-85AE-B1126DC2306B}" type="sibTrans" cxnId="{0AE6E4DF-BF33-4476-B2C2-5A476C4F251D}">
      <dgm:prSet/>
      <dgm:spPr/>
      <dgm:t>
        <a:bodyPr/>
        <a:lstStyle/>
        <a:p>
          <a:endParaRPr lang="en-US"/>
        </a:p>
      </dgm:t>
    </dgm:pt>
    <dgm:pt modelId="{A3A975F0-2F63-4E8D-B376-F008E81AA704}">
      <dgm:prSet phldrT="[Văn bản]"/>
      <dgm:spPr/>
      <dgm:t>
        <a:bodyPr/>
        <a:lstStyle/>
        <a:p>
          <a:r>
            <a:rPr lang="en-US" dirty="0" err="1">
              <a:latin typeface="Times New Roman" pitchFamily="18" charset="0"/>
              <a:cs typeface="Times New Roman" pitchFamily="18" charset="0"/>
            </a:rPr>
            <a:t>Mỗi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đứa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rẻ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đều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những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quyền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/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giá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rị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bẩm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sinh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F277390E-3E74-443D-B546-134D801B6864}" type="parTrans" cxnId="{244F4FA6-3139-4469-ABF7-E716978E3352}">
      <dgm:prSet/>
      <dgm:spPr/>
      <dgm:t>
        <a:bodyPr/>
        <a:lstStyle/>
        <a:p>
          <a:endParaRPr lang="en-US"/>
        </a:p>
      </dgm:t>
    </dgm:pt>
    <dgm:pt modelId="{AEA69D14-8922-4AB9-B53F-C72EF0941D87}" type="sibTrans" cxnId="{244F4FA6-3139-4469-ABF7-E716978E3352}">
      <dgm:prSet/>
      <dgm:spPr/>
      <dgm:t>
        <a:bodyPr/>
        <a:lstStyle/>
        <a:p>
          <a:endParaRPr lang="en-US"/>
        </a:p>
      </dgm:t>
    </dgm:pt>
    <dgm:pt modelId="{F0826CCA-3569-4597-AF60-262864C5967E}">
      <dgm:prSet phldrT="[Văn bản]"/>
      <dgm:spPr/>
      <dgm:t>
        <a:bodyPr/>
        <a:lstStyle/>
        <a:p>
          <a:r>
            <a:rPr lang="en-US" dirty="0" err="1">
              <a:latin typeface="Times New Roman" pitchFamily="18" charset="0"/>
              <a:cs typeface="Times New Roman" pitchFamily="18" charset="0"/>
            </a:rPr>
            <a:t>Giúp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rẻ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phát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huy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ối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đa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năng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lực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bản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hân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và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khả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năng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ự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hoàn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hiện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75C5E6D4-8954-4F0A-8AAB-48B63DA6EAA7}" type="parTrans" cxnId="{CD2E5508-71B6-4352-9CFF-7E9BFB8D7F28}">
      <dgm:prSet/>
      <dgm:spPr/>
      <dgm:t>
        <a:bodyPr/>
        <a:lstStyle/>
        <a:p>
          <a:endParaRPr lang="en-US"/>
        </a:p>
      </dgm:t>
    </dgm:pt>
    <dgm:pt modelId="{783655A8-0D6E-49E3-AE69-49028E027AF1}" type="sibTrans" cxnId="{CD2E5508-71B6-4352-9CFF-7E9BFB8D7F28}">
      <dgm:prSet/>
      <dgm:spPr/>
      <dgm:t>
        <a:bodyPr/>
        <a:lstStyle/>
        <a:p>
          <a:endParaRPr lang="en-US"/>
        </a:p>
      </dgm:t>
    </dgm:pt>
    <dgm:pt modelId="{D0ADDA2F-DF19-41D9-AD44-805F808114ED}">
      <dgm:prSet phldrT="[Văn bản]"/>
      <dgm:spPr/>
      <dgm:t>
        <a:bodyPr/>
        <a:lstStyle/>
        <a:p>
          <a:r>
            <a:rPr lang="en-US" dirty="0" err="1">
              <a:latin typeface="Times New Roman" pitchFamily="18" charset="0"/>
              <a:cs typeface="Times New Roman" pitchFamily="18" charset="0"/>
            </a:rPr>
            <a:t>Cải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hiện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an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sinh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rẻ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em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682FAD3C-7B42-4FCE-8F30-B5D6AFDC9D08}" type="parTrans" cxnId="{A51110CE-476D-42CD-9B0A-1346CB0E165D}">
      <dgm:prSet/>
      <dgm:spPr/>
      <dgm:t>
        <a:bodyPr/>
        <a:lstStyle/>
        <a:p>
          <a:endParaRPr lang="en-US"/>
        </a:p>
      </dgm:t>
    </dgm:pt>
    <dgm:pt modelId="{373634D4-81BF-4DEF-AAF9-BDDBB635AB29}" type="sibTrans" cxnId="{A51110CE-476D-42CD-9B0A-1346CB0E165D}">
      <dgm:prSet/>
      <dgm:spPr/>
      <dgm:t>
        <a:bodyPr/>
        <a:lstStyle/>
        <a:p>
          <a:endParaRPr lang="en-US"/>
        </a:p>
      </dgm:t>
    </dgm:pt>
    <dgm:pt modelId="{FC231F9C-1514-4CF0-A37B-E0B62E896044}">
      <dgm:prSet phldrT="[Văn bản]"/>
      <dgm:spPr/>
      <dgm:t>
        <a:bodyPr/>
        <a:lstStyle/>
        <a:p>
          <a:r>
            <a:rPr lang="en-US" dirty="0" err="1">
              <a:latin typeface="Times New Roman" pitchFamily="18" charset="0"/>
              <a:cs typeface="Times New Roman" pitchFamily="18" charset="0"/>
            </a:rPr>
            <a:t>Giảm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chi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phí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cơ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hội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rong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ương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lai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A293B0BE-8404-4EC3-997F-3141A1ECC810}" type="parTrans" cxnId="{9787B2F3-0150-43BB-9811-83ECACA4D4D8}">
      <dgm:prSet/>
      <dgm:spPr/>
      <dgm:t>
        <a:bodyPr/>
        <a:lstStyle/>
        <a:p>
          <a:endParaRPr lang="en-US"/>
        </a:p>
      </dgm:t>
    </dgm:pt>
    <dgm:pt modelId="{84D16AB1-2F32-468F-B3B1-A6F5E61765A2}" type="sibTrans" cxnId="{9787B2F3-0150-43BB-9811-83ECACA4D4D8}">
      <dgm:prSet/>
      <dgm:spPr/>
      <dgm:t>
        <a:bodyPr/>
        <a:lstStyle/>
        <a:p>
          <a:endParaRPr lang="en-US"/>
        </a:p>
      </dgm:t>
    </dgm:pt>
    <dgm:pt modelId="{0755D727-C8BB-4D1F-90B9-B024C6C86676}" type="pres">
      <dgm:prSet presAssocID="{8EE99E24-28FB-4C0E-91D1-FF618A1BA8A3}" presName="vert0" presStyleCnt="0">
        <dgm:presLayoutVars>
          <dgm:dir/>
          <dgm:animOne val="branch"/>
          <dgm:animLvl val="lvl"/>
        </dgm:presLayoutVars>
      </dgm:prSet>
      <dgm:spPr/>
    </dgm:pt>
    <dgm:pt modelId="{C3EE76F6-26F1-4CF5-97BF-EBA10876F44F}" type="pres">
      <dgm:prSet presAssocID="{B22BBE22-C807-4A3F-8E84-53B0271EB822}" presName="thickLine" presStyleLbl="alignNode1" presStyleIdx="0" presStyleCnt="5"/>
      <dgm:spPr/>
    </dgm:pt>
    <dgm:pt modelId="{02D96C33-52AF-4519-8FF4-B506BB23760D}" type="pres">
      <dgm:prSet presAssocID="{B22BBE22-C807-4A3F-8E84-53B0271EB822}" presName="horz1" presStyleCnt="0"/>
      <dgm:spPr/>
    </dgm:pt>
    <dgm:pt modelId="{9BE07D9B-A83E-4F54-BE94-5A9FF19564C7}" type="pres">
      <dgm:prSet presAssocID="{B22BBE22-C807-4A3F-8E84-53B0271EB822}" presName="tx1" presStyleLbl="revTx" presStyleIdx="0" presStyleCnt="5"/>
      <dgm:spPr/>
    </dgm:pt>
    <dgm:pt modelId="{CDFD0EA9-8486-4742-9B64-23F7ADD9B5C4}" type="pres">
      <dgm:prSet presAssocID="{B22BBE22-C807-4A3F-8E84-53B0271EB822}" presName="vert1" presStyleCnt="0"/>
      <dgm:spPr/>
    </dgm:pt>
    <dgm:pt modelId="{B06692DF-8B8F-4FBF-A491-4B1D686F5043}" type="pres">
      <dgm:prSet presAssocID="{A3A975F0-2F63-4E8D-B376-F008E81AA704}" presName="thickLine" presStyleLbl="alignNode1" presStyleIdx="1" presStyleCnt="5"/>
      <dgm:spPr/>
    </dgm:pt>
    <dgm:pt modelId="{AACB637B-2D2C-47BE-A371-ECC9FA5DC900}" type="pres">
      <dgm:prSet presAssocID="{A3A975F0-2F63-4E8D-B376-F008E81AA704}" presName="horz1" presStyleCnt="0"/>
      <dgm:spPr/>
    </dgm:pt>
    <dgm:pt modelId="{C10FC390-3E33-4668-B62D-3BBB1654E05F}" type="pres">
      <dgm:prSet presAssocID="{A3A975F0-2F63-4E8D-B376-F008E81AA704}" presName="tx1" presStyleLbl="revTx" presStyleIdx="1" presStyleCnt="5"/>
      <dgm:spPr/>
    </dgm:pt>
    <dgm:pt modelId="{96E59B5E-DA29-4B08-9987-C8717EBEC918}" type="pres">
      <dgm:prSet presAssocID="{A3A975F0-2F63-4E8D-B376-F008E81AA704}" presName="vert1" presStyleCnt="0"/>
      <dgm:spPr/>
    </dgm:pt>
    <dgm:pt modelId="{8CED41C9-0FCB-4E75-8B51-1189DCB6F097}" type="pres">
      <dgm:prSet presAssocID="{F0826CCA-3569-4597-AF60-262864C5967E}" presName="thickLine" presStyleLbl="alignNode1" presStyleIdx="2" presStyleCnt="5"/>
      <dgm:spPr/>
    </dgm:pt>
    <dgm:pt modelId="{070C426B-2952-4B21-9B7C-4CF746CCA994}" type="pres">
      <dgm:prSet presAssocID="{F0826CCA-3569-4597-AF60-262864C5967E}" presName="horz1" presStyleCnt="0"/>
      <dgm:spPr/>
    </dgm:pt>
    <dgm:pt modelId="{2B8B9418-7A79-4C9D-8429-E39BDC298318}" type="pres">
      <dgm:prSet presAssocID="{F0826CCA-3569-4597-AF60-262864C5967E}" presName="tx1" presStyleLbl="revTx" presStyleIdx="2" presStyleCnt="5"/>
      <dgm:spPr/>
    </dgm:pt>
    <dgm:pt modelId="{CFE880CC-F07D-4EB0-9B88-EF99EDA35DF2}" type="pres">
      <dgm:prSet presAssocID="{F0826CCA-3569-4597-AF60-262864C5967E}" presName="vert1" presStyleCnt="0"/>
      <dgm:spPr/>
    </dgm:pt>
    <dgm:pt modelId="{18BD4BA9-CDD6-498D-83C0-F9D5A58E3749}" type="pres">
      <dgm:prSet presAssocID="{D0ADDA2F-DF19-41D9-AD44-805F808114ED}" presName="thickLine" presStyleLbl="alignNode1" presStyleIdx="3" presStyleCnt="5"/>
      <dgm:spPr/>
    </dgm:pt>
    <dgm:pt modelId="{8B98173A-6671-4CF0-98E8-E153C0874778}" type="pres">
      <dgm:prSet presAssocID="{D0ADDA2F-DF19-41D9-AD44-805F808114ED}" presName="horz1" presStyleCnt="0"/>
      <dgm:spPr/>
    </dgm:pt>
    <dgm:pt modelId="{6BDA9B81-8657-4243-A9F1-62744C235B18}" type="pres">
      <dgm:prSet presAssocID="{D0ADDA2F-DF19-41D9-AD44-805F808114ED}" presName="tx1" presStyleLbl="revTx" presStyleIdx="3" presStyleCnt="5"/>
      <dgm:spPr/>
    </dgm:pt>
    <dgm:pt modelId="{322D0804-1103-4B58-B800-D0D332CFBB5F}" type="pres">
      <dgm:prSet presAssocID="{D0ADDA2F-DF19-41D9-AD44-805F808114ED}" presName="vert1" presStyleCnt="0"/>
      <dgm:spPr/>
    </dgm:pt>
    <dgm:pt modelId="{A15CFA09-0022-4FEF-90D6-D44E4FFB47E7}" type="pres">
      <dgm:prSet presAssocID="{FC231F9C-1514-4CF0-A37B-E0B62E896044}" presName="thickLine" presStyleLbl="alignNode1" presStyleIdx="4" presStyleCnt="5"/>
      <dgm:spPr/>
    </dgm:pt>
    <dgm:pt modelId="{E9C53973-F4C8-4400-A113-0CAD2A39E00A}" type="pres">
      <dgm:prSet presAssocID="{FC231F9C-1514-4CF0-A37B-E0B62E896044}" presName="horz1" presStyleCnt="0"/>
      <dgm:spPr/>
    </dgm:pt>
    <dgm:pt modelId="{5DFC1376-3EA1-4B06-AA70-1C93D37000FF}" type="pres">
      <dgm:prSet presAssocID="{FC231F9C-1514-4CF0-A37B-E0B62E896044}" presName="tx1" presStyleLbl="revTx" presStyleIdx="4" presStyleCnt="5"/>
      <dgm:spPr/>
    </dgm:pt>
    <dgm:pt modelId="{245B8864-A199-4E91-9D15-15B82097318E}" type="pres">
      <dgm:prSet presAssocID="{FC231F9C-1514-4CF0-A37B-E0B62E896044}" presName="vert1" presStyleCnt="0"/>
      <dgm:spPr/>
    </dgm:pt>
  </dgm:ptLst>
  <dgm:cxnLst>
    <dgm:cxn modelId="{CD2E5508-71B6-4352-9CFF-7E9BFB8D7F28}" srcId="{8EE99E24-28FB-4C0E-91D1-FF618A1BA8A3}" destId="{F0826CCA-3569-4597-AF60-262864C5967E}" srcOrd="2" destOrd="0" parTransId="{75C5E6D4-8954-4F0A-8AAB-48B63DA6EAA7}" sibTransId="{783655A8-0D6E-49E3-AE69-49028E027AF1}"/>
    <dgm:cxn modelId="{C0920813-293F-45E9-B3D5-87C76241A585}" type="presOf" srcId="{B22BBE22-C807-4A3F-8E84-53B0271EB822}" destId="{9BE07D9B-A83E-4F54-BE94-5A9FF19564C7}" srcOrd="0" destOrd="0" presId="urn:microsoft.com/office/officeart/2008/layout/LinedList"/>
    <dgm:cxn modelId="{757FE21E-A5AE-454B-A8D4-B38F6D74D978}" type="presOf" srcId="{8EE99E24-28FB-4C0E-91D1-FF618A1BA8A3}" destId="{0755D727-C8BB-4D1F-90B9-B024C6C86676}" srcOrd="0" destOrd="0" presId="urn:microsoft.com/office/officeart/2008/layout/LinedList"/>
    <dgm:cxn modelId="{C8998E5A-442C-49A8-B7BD-8EFFA33BECE6}" type="presOf" srcId="{A3A975F0-2F63-4E8D-B376-F008E81AA704}" destId="{C10FC390-3E33-4668-B62D-3BBB1654E05F}" srcOrd="0" destOrd="0" presId="urn:microsoft.com/office/officeart/2008/layout/LinedList"/>
    <dgm:cxn modelId="{CA8A4A95-BF3C-4A40-AB07-75A9FD1CEAEF}" type="presOf" srcId="{FC231F9C-1514-4CF0-A37B-E0B62E896044}" destId="{5DFC1376-3EA1-4B06-AA70-1C93D37000FF}" srcOrd="0" destOrd="0" presId="urn:microsoft.com/office/officeart/2008/layout/LinedList"/>
    <dgm:cxn modelId="{C564D696-F594-4DA4-88E0-3692D773BD83}" type="presOf" srcId="{D0ADDA2F-DF19-41D9-AD44-805F808114ED}" destId="{6BDA9B81-8657-4243-A9F1-62744C235B18}" srcOrd="0" destOrd="0" presId="urn:microsoft.com/office/officeart/2008/layout/LinedList"/>
    <dgm:cxn modelId="{244F4FA6-3139-4469-ABF7-E716978E3352}" srcId="{8EE99E24-28FB-4C0E-91D1-FF618A1BA8A3}" destId="{A3A975F0-2F63-4E8D-B376-F008E81AA704}" srcOrd="1" destOrd="0" parTransId="{F277390E-3E74-443D-B546-134D801B6864}" sibTransId="{AEA69D14-8922-4AB9-B53F-C72EF0941D87}"/>
    <dgm:cxn modelId="{F117D7BA-4FCE-4320-A685-19F4C2FDF19D}" type="presOf" srcId="{F0826CCA-3569-4597-AF60-262864C5967E}" destId="{2B8B9418-7A79-4C9D-8429-E39BDC298318}" srcOrd="0" destOrd="0" presId="urn:microsoft.com/office/officeart/2008/layout/LinedList"/>
    <dgm:cxn modelId="{A51110CE-476D-42CD-9B0A-1346CB0E165D}" srcId="{8EE99E24-28FB-4C0E-91D1-FF618A1BA8A3}" destId="{D0ADDA2F-DF19-41D9-AD44-805F808114ED}" srcOrd="3" destOrd="0" parTransId="{682FAD3C-7B42-4FCE-8F30-B5D6AFDC9D08}" sibTransId="{373634D4-81BF-4DEF-AAF9-BDDBB635AB29}"/>
    <dgm:cxn modelId="{0AE6E4DF-BF33-4476-B2C2-5A476C4F251D}" srcId="{8EE99E24-28FB-4C0E-91D1-FF618A1BA8A3}" destId="{B22BBE22-C807-4A3F-8E84-53B0271EB822}" srcOrd="0" destOrd="0" parTransId="{C9108D22-B08A-48F6-8A0B-72D3A0B1722E}" sibTransId="{6C5D56CC-D3E0-4203-85AE-B1126DC2306B}"/>
    <dgm:cxn modelId="{9787B2F3-0150-43BB-9811-83ECACA4D4D8}" srcId="{8EE99E24-28FB-4C0E-91D1-FF618A1BA8A3}" destId="{FC231F9C-1514-4CF0-A37B-E0B62E896044}" srcOrd="4" destOrd="0" parTransId="{A293B0BE-8404-4EC3-997F-3141A1ECC810}" sibTransId="{84D16AB1-2F32-468F-B3B1-A6F5E61765A2}"/>
    <dgm:cxn modelId="{E69F05B9-612C-43E9-87B5-3357D8045A58}" type="presParOf" srcId="{0755D727-C8BB-4D1F-90B9-B024C6C86676}" destId="{C3EE76F6-26F1-4CF5-97BF-EBA10876F44F}" srcOrd="0" destOrd="0" presId="urn:microsoft.com/office/officeart/2008/layout/LinedList"/>
    <dgm:cxn modelId="{ED6215D8-89DB-4AAA-89A5-06F4659BCBD6}" type="presParOf" srcId="{0755D727-C8BB-4D1F-90B9-B024C6C86676}" destId="{02D96C33-52AF-4519-8FF4-B506BB23760D}" srcOrd="1" destOrd="0" presId="urn:microsoft.com/office/officeart/2008/layout/LinedList"/>
    <dgm:cxn modelId="{1C7DD696-C592-42ED-BA95-59AB0ACAB4E7}" type="presParOf" srcId="{02D96C33-52AF-4519-8FF4-B506BB23760D}" destId="{9BE07D9B-A83E-4F54-BE94-5A9FF19564C7}" srcOrd="0" destOrd="0" presId="urn:microsoft.com/office/officeart/2008/layout/LinedList"/>
    <dgm:cxn modelId="{F65F9FF2-0367-4A3F-A9C5-1AF69AFD84AD}" type="presParOf" srcId="{02D96C33-52AF-4519-8FF4-B506BB23760D}" destId="{CDFD0EA9-8486-4742-9B64-23F7ADD9B5C4}" srcOrd="1" destOrd="0" presId="urn:microsoft.com/office/officeart/2008/layout/LinedList"/>
    <dgm:cxn modelId="{90757CCB-53D4-4216-9606-13ED2E9617C4}" type="presParOf" srcId="{0755D727-C8BB-4D1F-90B9-B024C6C86676}" destId="{B06692DF-8B8F-4FBF-A491-4B1D686F5043}" srcOrd="2" destOrd="0" presId="urn:microsoft.com/office/officeart/2008/layout/LinedList"/>
    <dgm:cxn modelId="{DAC72862-744E-4598-8C96-4BC4925CF4CC}" type="presParOf" srcId="{0755D727-C8BB-4D1F-90B9-B024C6C86676}" destId="{AACB637B-2D2C-47BE-A371-ECC9FA5DC900}" srcOrd="3" destOrd="0" presId="urn:microsoft.com/office/officeart/2008/layout/LinedList"/>
    <dgm:cxn modelId="{A49922E8-CEBA-4060-A165-11D5CD20320F}" type="presParOf" srcId="{AACB637B-2D2C-47BE-A371-ECC9FA5DC900}" destId="{C10FC390-3E33-4668-B62D-3BBB1654E05F}" srcOrd="0" destOrd="0" presId="urn:microsoft.com/office/officeart/2008/layout/LinedList"/>
    <dgm:cxn modelId="{520ECB82-8663-451E-BC5E-B89AD2F71E15}" type="presParOf" srcId="{AACB637B-2D2C-47BE-A371-ECC9FA5DC900}" destId="{96E59B5E-DA29-4B08-9987-C8717EBEC918}" srcOrd="1" destOrd="0" presId="urn:microsoft.com/office/officeart/2008/layout/LinedList"/>
    <dgm:cxn modelId="{0E275B4C-4E69-44BE-BDBC-D30F0AF3B1BA}" type="presParOf" srcId="{0755D727-C8BB-4D1F-90B9-B024C6C86676}" destId="{8CED41C9-0FCB-4E75-8B51-1189DCB6F097}" srcOrd="4" destOrd="0" presId="urn:microsoft.com/office/officeart/2008/layout/LinedList"/>
    <dgm:cxn modelId="{7D1B7AD9-2BCD-4972-8A34-0648E213C0CB}" type="presParOf" srcId="{0755D727-C8BB-4D1F-90B9-B024C6C86676}" destId="{070C426B-2952-4B21-9B7C-4CF746CCA994}" srcOrd="5" destOrd="0" presId="urn:microsoft.com/office/officeart/2008/layout/LinedList"/>
    <dgm:cxn modelId="{0A471BDE-894D-4E08-947B-4A08609E6465}" type="presParOf" srcId="{070C426B-2952-4B21-9B7C-4CF746CCA994}" destId="{2B8B9418-7A79-4C9D-8429-E39BDC298318}" srcOrd="0" destOrd="0" presId="urn:microsoft.com/office/officeart/2008/layout/LinedList"/>
    <dgm:cxn modelId="{73676D80-D873-4F31-BEE9-4A6F129CA9F0}" type="presParOf" srcId="{070C426B-2952-4B21-9B7C-4CF746CCA994}" destId="{CFE880CC-F07D-4EB0-9B88-EF99EDA35DF2}" srcOrd="1" destOrd="0" presId="urn:microsoft.com/office/officeart/2008/layout/LinedList"/>
    <dgm:cxn modelId="{100F86D9-35CC-4678-9A05-E9CD6538942C}" type="presParOf" srcId="{0755D727-C8BB-4D1F-90B9-B024C6C86676}" destId="{18BD4BA9-CDD6-498D-83C0-F9D5A58E3749}" srcOrd="6" destOrd="0" presId="urn:microsoft.com/office/officeart/2008/layout/LinedList"/>
    <dgm:cxn modelId="{1DF38D78-3EBB-4D24-830C-FC34C70AEBD8}" type="presParOf" srcId="{0755D727-C8BB-4D1F-90B9-B024C6C86676}" destId="{8B98173A-6671-4CF0-98E8-E153C0874778}" srcOrd="7" destOrd="0" presId="urn:microsoft.com/office/officeart/2008/layout/LinedList"/>
    <dgm:cxn modelId="{D6469832-2266-45EB-9CC9-A9FF1CABE9D5}" type="presParOf" srcId="{8B98173A-6671-4CF0-98E8-E153C0874778}" destId="{6BDA9B81-8657-4243-A9F1-62744C235B18}" srcOrd="0" destOrd="0" presId="urn:microsoft.com/office/officeart/2008/layout/LinedList"/>
    <dgm:cxn modelId="{710F44C1-187C-4398-BA2D-E726F27E1917}" type="presParOf" srcId="{8B98173A-6671-4CF0-98E8-E153C0874778}" destId="{322D0804-1103-4B58-B800-D0D332CFBB5F}" srcOrd="1" destOrd="0" presId="urn:microsoft.com/office/officeart/2008/layout/LinedList"/>
    <dgm:cxn modelId="{1DE7B2A3-297F-46EA-8816-43B23122A574}" type="presParOf" srcId="{0755D727-C8BB-4D1F-90B9-B024C6C86676}" destId="{A15CFA09-0022-4FEF-90D6-D44E4FFB47E7}" srcOrd="8" destOrd="0" presId="urn:microsoft.com/office/officeart/2008/layout/LinedList"/>
    <dgm:cxn modelId="{E55B491E-E789-46ED-AE87-19D9BD36B50F}" type="presParOf" srcId="{0755D727-C8BB-4D1F-90B9-B024C6C86676}" destId="{E9C53973-F4C8-4400-A113-0CAD2A39E00A}" srcOrd="9" destOrd="0" presId="urn:microsoft.com/office/officeart/2008/layout/LinedList"/>
    <dgm:cxn modelId="{DB2D2B12-5B6F-43E4-88AC-BCBA42CCED53}" type="presParOf" srcId="{E9C53973-F4C8-4400-A113-0CAD2A39E00A}" destId="{5DFC1376-3EA1-4B06-AA70-1C93D37000FF}" srcOrd="0" destOrd="0" presId="urn:microsoft.com/office/officeart/2008/layout/LinedList"/>
    <dgm:cxn modelId="{6521B75B-F4AE-42C1-BC15-C21875A39E9F}" type="presParOf" srcId="{E9C53973-F4C8-4400-A113-0CAD2A39E00A}" destId="{245B8864-A199-4E91-9D15-15B82097318E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47BD5D20-E563-BC40-9C5A-845A31498E07}" type="doc">
      <dgm:prSet loTypeId="urn:microsoft.com/office/officeart/2005/8/layout/cycle2" loCatId="" qsTypeId="urn:microsoft.com/office/officeart/2005/8/quickstyle/simple4" qsCatId="simple" csTypeId="urn:microsoft.com/office/officeart/2005/8/colors/colorful1#2" csCatId="colorful" phldr="1"/>
      <dgm:spPr/>
      <dgm:t>
        <a:bodyPr/>
        <a:lstStyle/>
        <a:p>
          <a:endParaRPr lang="en-US"/>
        </a:p>
      </dgm:t>
    </dgm:pt>
    <dgm:pt modelId="{93404994-D9C1-E24D-8F57-18BD035D0286}">
      <dgm:prSet phldrT="[Text]" custT="1"/>
      <dgm:spPr/>
      <dgm:t>
        <a:bodyPr/>
        <a:lstStyle/>
        <a:p>
          <a:r>
            <a:rPr lang="en-US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ể</a:t>
          </a:r>
          <a:r>
            <a:rPr lang="en-US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ất</a:t>
          </a:r>
          <a:endParaRPr lang="en-US" sz="3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7D5841BE-95CC-CC43-9AE8-A1BF88D06231}" type="parTrans" cxnId="{7789FAF0-3380-7E4B-B225-5B2CE5B62E35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FC9E978E-14DC-FA4A-9845-8B31AFCBA686}" type="sibTrans" cxnId="{7789FAF0-3380-7E4B-B225-5B2CE5B62E35}">
      <dgm:prSet custT="1"/>
      <dgm:spPr/>
      <dgm:t>
        <a:bodyPr/>
        <a:lstStyle/>
        <a:p>
          <a:endParaRPr lang="en-US" sz="2000" dirty="0">
            <a:solidFill>
              <a:schemeClr val="tx1"/>
            </a:solidFill>
          </a:endParaRPr>
        </a:p>
      </dgm:t>
    </dgm:pt>
    <dgm:pt modelId="{EE752CA4-0E3C-9C49-A30E-2C00D3A4E9AE}">
      <dgm:prSet phldrT="[Text]" custT="1"/>
      <dgm:spPr/>
      <dgm:t>
        <a:bodyPr/>
        <a:lstStyle/>
        <a:p>
          <a:r>
            <a:rPr lang="en-US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âm</a:t>
          </a:r>
          <a:r>
            <a:rPr lang="en-US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ý</a:t>
          </a:r>
          <a:endParaRPr lang="en-US" sz="3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3DD760BB-4047-144C-BD78-3F2FA24C88CF}" type="parTrans" cxnId="{22BA6225-360A-9E4C-92DC-45FB5D192254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34658E23-D4A7-0043-8947-FD2CC8AA4BBC}" type="sibTrans" cxnId="{22BA6225-360A-9E4C-92DC-45FB5D192254}">
      <dgm:prSet custT="1"/>
      <dgm:spPr/>
      <dgm:t>
        <a:bodyPr/>
        <a:lstStyle/>
        <a:p>
          <a:endParaRPr lang="en-US" sz="2000" dirty="0">
            <a:solidFill>
              <a:schemeClr val="tx1"/>
            </a:solidFill>
          </a:endParaRPr>
        </a:p>
      </dgm:t>
    </dgm:pt>
    <dgm:pt modelId="{29921AD1-9E15-F348-83D8-E2ECBB1E4C76}">
      <dgm:prSet phldrT="[Text]" custT="1"/>
      <dgm:spPr/>
      <dgm:t>
        <a:bodyPr/>
        <a:lstStyle/>
        <a:p>
          <a:r>
            <a:rPr lang="en-US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m</a:t>
          </a:r>
          <a:r>
            <a:rPr lang="en-US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úc</a:t>
          </a:r>
          <a:endParaRPr lang="en-US" sz="3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9838D787-3D66-2F4D-9FCE-CCF3EF4ACAB7}" type="parTrans" cxnId="{3627EA5D-E301-0947-A512-0DED2152BD48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432C4976-4DD6-364A-ABF1-90E4AB37B3F5}" type="sibTrans" cxnId="{3627EA5D-E301-0947-A512-0DED2152BD48}">
      <dgm:prSet custT="1"/>
      <dgm:spPr/>
      <dgm:t>
        <a:bodyPr/>
        <a:lstStyle/>
        <a:p>
          <a:endParaRPr lang="en-US" sz="2000" dirty="0">
            <a:solidFill>
              <a:schemeClr val="tx1"/>
            </a:solidFill>
          </a:endParaRPr>
        </a:p>
      </dgm:t>
    </dgm:pt>
    <dgm:pt modelId="{A4404F6C-59D8-B948-9C40-1F612375C931}">
      <dgm:prSet phldrT="[Text]" custT="1"/>
      <dgm:spPr/>
      <dgm:t>
        <a:bodyPr/>
        <a:lstStyle/>
        <a:p>
          <a:r>
            <a:rPr lang="en-US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ận</a:t>
          </a:r>
          <a:r>
            <a:rPr lang="en-US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ức</a:t>
          </a:r>
          <a:endParaRPr lang="en-US" sz="3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C6FD0A1C-CE85-E142-AFEC-1A284AF4B362}" type="parTrans" cxnId="{244E705F-52B1-AB4F-8B07-77CDB506C13E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CF2F2B04-B32D-D641-BB30-4EAD770FF70B}" type="sibTrans" cxnId="{244E705F-52B1-AB4F-8B07-77CDB506C13E}">
      <dgm:prSet custT="1"/>
      <dgm:spPr/>
      <dgm:t>
        <a:bodyPr/>
        <a:lstStyle/>
        <a:p>
          <a:endParaRPr lang="en-US" sz="2000" dirty="0">
            <a:solidFill>
              <a:schemeClr val="tx1"/>
            </a:solidFill>
          </a:endParaRPr>
        </a:p>
      </dgm:t>
    </dgm:pt>
    <dgm:pt modelId="{EC60F8BE-2ED0-1543-9AC0-E30CDD6DA1C7}">
      <dgm:prSet phldrT="[Text]" custT="1"/>
      <dgm:spPr/>
      <dgm:t>
        <a:bodyPr/>
        <a:lstStyle/>
        <a:p>
          <a:r>
            <a:rPr lang="en-US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ã</a:t>
          </a:r>
          <a:r>
            <a:rPr lang="en-US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ội</a:t>
          </a:r>
          <a:endParaRPr lang="en-US" sz="3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98231DBC-32AD-314C-ABF1-E47B18698411}" type="parTrans" cxnId="{470D9A84-903A-3740-A25D-C25FC1156425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C98B3770-543B-8748-897A-1B559F736B33}" type="sibTrans" cxnId="{470D9A84-903A-3740-A25D-C25FC1156425}">
      <dgm:prSet custT="1"/>
      <dgm:spPr/>
      <dgm:t>
        <a:bodyPr/>
        <a:lstStyle/>
        <a:p>
          <a:endParaRPr lang="en-US" sz="2000" dirty="0">
            <a:solidFill>
              <a:schemeClr val="tx1"/>
            </a:solidFill>
          </a:endParaRPr>
        </a:p>
      </dgm:t>
    </dgm:pt>
    <dgm:pt modelId="{76CA2953-F6CC-5046-B750-8814B695E21A}">
      <dgm:prSet phldrT="[Text]" custT="1"/>
      <dgm:spPr/>
      <dgm:t>
        <a:bodyPr/>
        <a:lstStyle/>
        <a:p>
          <a:r>
            <a:rPr lang="en-US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ạo</a:t>
          </a:r>
          <a:r>
            <a:rPr lang="en-US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ức</a:t>
          </a:r>
          <a:endParaRPr lang="en-US" sz="3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A95B305B-C224-684C-9AA8-7A131FF4AD9C}" type="parTrans" cxnId="{E0DDD72B-49FB-D840-A027-E52A2AD2547A}">
      <dgm:prSet/>
      <dgm:spPr/>
      <dgm:t>
        <a:bodyPr/>
        <a:lstStyle/>
        <a:p>
          <a:endParaRPr lang="en-US" sz="2000">
            <a:solidFill>
              <a:schemeClr val="tx1"/>
            </a:solidFill>
          </a:endParaRPr>
        </a:p>
      </dgm:t>
    </dgm:pt>
    <dgm:pt modelId="{7C145655-B999-FB43-99BF-41784FE3EA3C}" type="sibTrans" cxnId="{E0DDD72B-49FB-D840-A027-E52A2AD2547A}">
      <dgm:prSet custT="1"/>
      <dgm:spPr/>
      <dgm:t>
        <a:bodyPr/>
        <a:lstStyle/>
        <a:p>
          <a:endParaRPr lang="en-US" sz="2000" dirty="0">
            <a:solidFill>
              <a:schemeClr val="tx1"/>
            </a:solidFill>
          </a:endParaRPr>
        </a:p>
      </dgm:t>
    </dgm:pt>
    <dgm:pt modelId="{C83F74CF-0508-264D-A8C6-4B85B31CA39E}" type="pres">
      <dgm:prSet presAssocID="{47BD5D20-E563-BC40-9C5A-845A31498E07}" presName="cycle" presStyleCnt="0">
        <dgm:presLayoutVars>
          <dgm:dir/>
          <dgm:resizeHandles val="exact"/>
        </dgm:presLayoutVars>
      </dgm:prSet>
      <dgm:spPr/>
    </dgm:pt>
    <dgm:pt modelId="{8665A722-FAE5-0743-8243-5C558DC8FA37}" type="pres">
      <dgm:prSet presAssocID="{93404994-D9C1-E24D-8F57-18BD035D0286}" presName="node" presStyleLbl="node1" presStyleIdx="0" presStyleCnt="6" custScaleX="244782">
        <dgm:presLayoutVars>
          <dgm:bulletEnabled val="1"/>
        </dgm:presLayoutVars>
      </dgm:prSet>
      <dgm:spPr/>
    </dgm:pt>
    <dgm:pt modelId="{D4C46D54-7C06-E24E-901E-F779573EBB88}" type="pres">
      <dgm:prSet presAssocID="{FC9E978E-14DC-FA4A-9845-8B31AFCBA686}" presName="sibTrans" presStyleLbl="sibTrans2D1" presStyleIdx="0" presStyleCnt="6"/>
      <dgm:spPr/>
    </dgm:pt>
    <dgm:pt modelId="{837BE92E-1501-EA4F-AE90-0E27B116D72C}" type="pres">
      <dgm:prSet presAssocID="{FC9E978E-14DC-FA4A-9845-8B31AFCBA686}" presName="connectorText" presStyleLbl="sibTrans2D1" presStyleIdx="0" presStyleCnt="6"/>
      <dgm:spPr/>
    </dgm:pt>
    <dgm:pt modelId="{C38BE90F-8299-7646-8EDC-36215AA3DA6E}" type="pres">
      <dgm:prSet presAssocID="{EE752CA4-0E3C-9C49-A30E-2C00D3A4E9AE}" presName="node" presStyleLbl="node1" presStyleIdx="1" presStyleCnt="6" custScaleX="208890" custRadScaleRad="181823" custRadScaleInc="50518">
        <dgm:presLayoutVars>
          <dgm:bulletEnabled val="1"/>
        </dgm:presLayoutVars>
      </dgm:prSet>
      <dgm:spPr/>
    </dgm:pt>
    <dgm:pt modelId="{11B16632-3AF8-3B4B-85B4-6FD8695DFD3F}" type="pres">
      <dgm:prSet presAssocID="{34658E23-D4A7-0043-8947-FD2CC8AA4BBC}" presName="sibTrans" presStyleLbl="sibTrans2D1" presStyleIdx="1" presStyleCnt="6"/>
      <dgm:spPr/>
    </dgm:pt>
    <dgm:pt modelId="{CB6EB068-1F9E-104C-98B8-8AB26F7FA4B3}" type="pres">
      <dgm:prSet presAssocID="{34658E23-D4A7-0043-8947-FD2CC8AA4BBC}" presName="connectorText" presStyleLbl="sibTrans2D1" presStyleIdx="1" presStyleCnt="6"/>
      <dgm:spPr/>
    </dgm:pt>
    <dgm:pt modelId="{99FFAF1C-8D16-5C42-937E-84E7A810F4BB}" type="pres">
      <dgm:prSet presAssocID="{29921AD1-9E15-F348-83D8-E2ECBB1E4C76}" presName="node" presStyleLbl="node1" presStyleIdx="2" presStyleCnt="6" custScaleX="225191" custRadScaleRad="183280" custRadScaleInc="-27755">
        <dgm:presLayoutVars>
          <dgm:bulletEnabled val="1"/>
        </dgm:presLayoutVars>
      </dgm:prSet>
      <dgm:spPr/>
    </dgm:pt>
    <dgm:pt modelId="{D9F41B2C-7372-734F-8545-A7839A237CA6}" type="pres">
      <dgm:prSet presAssocID="{432C4976-4DD6-364A-ABF1-90E4AB37B3F5}" presName="sibTrans" presStyleLbl="sibTrans2D1" presStyleIdx="2" presStyleCnt="6"/>
      <dgm:spPr/>
    </dgm:pt>
    <dgm:pt modelId="{495FA2AC-58FE-4C44-A3B4-AD94183BAC32}" type="pres">
      <dgm:prSet presAssocID="{432C4976-4DD6-364A-ABF1-90E4AB37B3F5}" presName="connectorText" presStyleLbl="sibTrans2D1" presStyleIdx="2" presStyleCnt="6"/>
      <dgm:spPr/>
    </dgm:pt>
    <dgm:pt modelId="{D3205548-0A7F-C647-AC69-98D0F87F08BD}" type="pres">
      <dgm:prSet presAssocID="{A4404F6C-59D8-B948-9C40-1F612375C931}" presName="node" presStyleLbl="node1" presStyleIdx="3" presStyleCnt="6" custScaleX="227885" custRadScaleRad="100295" custRadScaleInc="-13338">
        <dgm:presLayoutVars>
          <dgm:bulletEnabled val="1"/>
        </dgm:presLayoutVars>
      </dgm:prSet>
      <dgm:spPr/>
    </dgm:pt>
    <dgm:pt modelId="{A71BA631-9E30-694A-B798-6AE5B2FDD51C}" type="pres">
      <dgm:prSet presAssocID="{CF2F2B04-B32D-D641-BB30-4EAD770FF70B}" presName="sibTrans" presStyleLbl="sibTrans2D1" presStyleIdx="3" presStyleCnt="6"/>
      <dgm:spPr/>
    </dgm:pt>
    <dgm:pt modelId="{DA5A3E1E-7844-EB41-922D-3960389B8AEE}" type="pres">
      <dgm:prSet presAssocID="{CF2F2B04-B32D-D641-BB30-4EAD770FF70B}" presName="connectorText" presStyleLbl="sibTrans2D1" presStyleIdx="3" presStyleCnt="6"/>
      <dgm:spPr/>
    </dgm:pt>
    <dgm:pt modelId="{E4E2CD37-A03A-0A46-BEC7-D076A2976894}" type="pres">
      <dgm:prSet presAssocID="{EC60F8BE-2ED0-1543-9AC0-E30CDD6DA1C7}" presName="node" presStyleLbl="node1" presStyleIdx="4" presStyleCnt="6" custScaleX="212766" custRadScaleRad="157603" custRadScaleInc="21005">
        <dgm:presLayoutVars>
          <dgm:bulletEnabled val="1"/>
        </dgm:presLayoutVars>
      </dgm:prSet>
      <dgm:spPr/>
    </dgm:pt>
    <dgm:pt modelId="{FF22B9E1-1178-AF40-8075-D980F1D31EE4}" type="pres">
      <dgm:prSet presAssocID="{C98B3770-543B-8748-897A-1B559F736B33}" presName="sibTrans" presStyleLbl="sibTrans2D1" presStyleIdx="4" presStyleCnt="6"/>
      <dgm:spPr/>
    </dgm:pt>
    <dgm:pt modelId="{A4656779-D238-5945-9063-73272A9575F9}" type="pres">
      <dgm:prSet presAssocID="{C98B3770-543B-8748-897A-1B559F736B33}" presName="connectorText" presStyleLbl="sibTrans2D1" presStyleIdx="4" presStyleCnt="6"/>
      <dgm:spPr/>
    </dgm:pt>
    <dgm:pt modelId="{F2D81556-9D09-EC4C-B2A6-B2B6CDAE1B2F}" type="pres">
      <dgm:prSet presAssocID="{76CA2953-F6CC-5046-B750-8814B695E21A}" presName="node" presStyleLbl="node1" presStyleIdx="5" presStyleCnt="6" custScaleX="198197" custRadScaleRad="176994" custRadScaleInc="-42105">
        <dgm:presLayoutVars>
          <dgm:bulletEnabled val="1"/>
        </dgm:presLayoutVars>
      </dgm:prSet>
      <dgm:spPr/>
    </dgm:pt>
    <dgm:pt modelId="{4BF7F635-DDA6-1E4B-87FA-797F93AB4D05}" type="pres">
      <dgm:prSet presAssocID="{7C145655-B999-FB43-99BF-41784FE3EA3C}" presName="sibTrans" presStyleLbl="sibTrans2D1" presStyleIdx="5" presStyleCnt="6"/>
      <dgm:spPr/>
    </dgm:pt>
    <dgm:pt modelId="{E6E3595B-18A5-4D42-940D-6F9F59FEED08}" type="pres">
      <dgm:prSet presAssocID="{7C145655-B999-FB43-99BF-41784FE3EA3C}" presName="connectorText" presStyleLbl="sibTrans2D1" presStyleIdx="5" presStyleCnt="6"/>
      <dgm:spPr/>
    </dgm:pt>
  </dgm:ptLst>
  <dgm:cxnLst>
    <dgm:cxn modelId="{E789C504-AF74-7649-92D0-FF1C82A69B86}" type="presOf" srcId="{CF2F2B04-B32D-D641-BB30-4EAD770FF70B}" destId="{DA5A3E1E-7844-EB41-922D-3960389B8AEE}" srcOrd="1" destOrd="0" presId="urn:microsoft.com/office/officeart/2005/8/layout/cycle2"/>
    <dgm:cxn modelId="{028A1F10-8D94-8847-B2A5-A406A0456792}" type="presOf" srcId="{93404994-D9C1-E24D-8F57-18BD035D0286}" destId="{8665A722-FAE5-0743-8243-5C558DC8FA37}" srcOrd="0" destOrd="0" presId="urn:microsoft.com/office/officeart/2005/8/layout/cycle2"/>
    <dgm:cxn modelId="{CE146616-FFF4-4E47-97A6-04540AC6FC6E}" type="presOf" srcId="{34658E23-D4A7-0043-8947-FD2CC8AA4BBC}" destId="{CB6EB068-1F9E-104C-98B8-8AB26F7FA4B3}" srcOrd="1" destOrd="0" presId="urn:microsoft.com/office/officeart/2005/8/layout/cycle2"/>
    <dgm:cxn modelId="{22BA6225-360A-9E4C-92DC-45FB5D192254}" srcId="{47BD5D20-E563-BC40-9C5A-845A31498E07}" destId="{EE752CA4-0E3C-9C49-A30E-2C00D3A4E9AE}" srcOrd="1" destOrd="0" parTransId="{3DD760BB-4047-144C-BD78-3F2FA24C88CF}" sibTransId="{34658E23-D4A7-0043-8947-FD2CC8AA4BBC}"/>
    <dgm:cxn modelId="{BFCA4B2B-6E9D-DC45-A4C6-9EF76B59E54D}" type="presOf" srcId="{29921AD1-9E15-F348-83D8-E2ECBB1E4C76}" destId="{99FFAF1C-8D16-5C42-937E-84E7A810F4BB}" srcOrd="0" destOrd="0" presId="urn:microsoft.com/office/officeart/2005/8/layout/cycle2"/>
    <dgm:cxn modelId="{E0DDD72B-49FB-D840-A027-E52A2AD2547A}" srcId="{47BD5D20-E563-BC40-9C5A-845A31498E07}" destId="{76CA2953-F6CC-5046-B750-8814B695E21A}" srcOrd="5" destOrd="0" parTransId="{A95B305B-C224-684C-9AA8-7A131FF4AD9C}" sibTransId="{7C145655-B999-FB43-99BF-41784FE3EA3C}"/>
    <dgm:cxn modelId="{4957BD2E-A342-564A-8A32-A2643EB6EFD1}" type="presOf" srcId="{FC9E978E-14DC-FA4A-9845-8B31AFCBA686}" destId="{837BE92E-1501-EA4F-AE90-0E27B116D72C}" srcOrd="1" destOrd="0" presId="urn:microsoft.com/office/officeart/2005/8/layout/cycle2"/>
    <dgm:cxn modelId="{7BAB6139-9C5E-7C40-B393-C23333893066}" type="presOf" srcId="{C98B3770-543B-8748-897A-1B559F736B33}" destId="{FF22B9E1-1178-AF40-8075-D980F1D31EE4}" srcOrd="0" destOrd="0" presId="urn:microsoft.com/office/officeart/2005/8/layout/cycle2"/>
    <dgm:cxn modelId="{3627EA5D-E301-0947-A512-0DED2152BD48}" srcId="{47BD5D20-E563-BC40-9C5A-845A31498E07}" destId="{29921AD1-9E15-F348-83D8-E2ECBB1E4C76}" srcOrd="2" destOrd="0" parTransId="{9838D787-3D66-2F4D-9FCE-CCF3EF4ACAB7}" sibTransId="{432C4976-4DD6-364A-ABF1-90E4AB37B3F5}"/>
    <dgm:cxn modelId="{244E705F-52B1-AB4F-8B07-77CDB506C13E}" srcId="{47BD5D20-E563-BC40-9C5A-845A31498E07}" destId="{A4404F6C-59D8-B948-9C40-1F612375C931}" srcOrd="3" destOrd="0" parTransId="{C6FD0A1C-CE85-E142-AFEC-1A284AF4B362}" sibTransId="{CF2F2B04-B32D-D641-BB30-4EAD770FF70B}"/>
    <dgm:cxn modelId="{08743756-E5FF-2848-A086-261E215A2371}" type="presOf" srcId="{76CA2953-F6CC-5046-B750-8814B695E21A}" destId="{F2D81556-9D09-EC4C-B2A6-B2B6CDAE1B2F}" srcOrd="0" destOrd="0" presId="urn:microsoft.com/office/officeart/2005/8/layout/cycle2"/>
    <dgm:cxn modelId="{6A1F0477-E1FC-ED47-83C6-1D9B8F259961}" type="presOf" srcId="{47BD5D20-E563-BC40-9C5A-845A31498E07}" destId="{C83F74CF-0508-264D-A8C6-4B85B31CA39E}" srcOrd="0" destOrd="0" presId="urn:microsoft.com/office/officeart/2005/8/layout/cycle2"/>
    <dgm:cxn modelId="{470D9A84-903A-3740-A25D-C25FC1156425}" srcId="{47BD5D20-E563-BC40-9C5A-845A31498E07}" destId="{EC60F8BE-2ED0-1543-9AC0-E30CDD6DA1C7}" srcOrd="4" destOrd="0" parTransId="{98231DBC-32AD-314C-ABF1-E47B18698411}" sibTransId="{C98B3770-543B-8748-897A-1B559F736B33}"/>
    <dgm:cxn modelId="{F1E5688C-8538-2B46-B63A-D442224B967F}" type="presOf" srcId="{7C145655-B999-FB43-99BF-41784FE3EA3C}" destId="{E6E3595B-18A5-4D42-940D-6F9F59FEED08}" srcOrd="1" destOrd="0" presId="urn:microsoft.com/office/officeart/2005/8/layout/cycle2"/>
    <dgm:cxn modelId="{963DE68E-E09A-6F49-B530-900F84F3BC97}" type="presOf" srcId="{A4404F6C-59D8-B948-9C40-1F612375C931}" destId="{D3205548-0A7F-C647-AC69-98D0F87F08BD}" srcOrd="0" destOrd="0" presId="urn:microsoft.com/office/officeart/2005/8/layout/cycle2"/>
    <dgm:cxn modelId="{A421FE91-AE7A-0246-9765-6511C3AB9064}" type="presOf" srcId="{432C4976-4DD6-364A-ABF1-90E4AB37B3F5}" destId="{495FA2AC-58FE-4C44-A3B4-AD94183BAC32}" srcOrd="1" destOrd="0" presId="urn:microsoft.com/office/officeart/2005/8/layout/cycle2"/>
    <dgm:cxn modelId="{AE14459A-C396-0F4B-A7E4-5F9CD02EE6BE}" type="presOf" srcId="{EC60F8BE-2ED0-1543-9AC0-E30CDD6DA1C7}" destId="{E4E2CD37-A03A-0A46-BEC7-D076A2976894}" srcOrd="0" destOrd="0" presId="urn:microsoft.com/office/officeart/2005/8/layout/cycle2"/>
    <dgm:cxn modelId="{B5EC19A3-5EA7-DE4D-9DD8-356C306C9BBC}" type="presOf" srcId="{7C145655-B999-FB43-99BF-41784FE3EA3C}" destId="{4BF7F635-DDA6-1E4B-87FA-797F93AB4D05}" srcOrd="0" destOrd="0" presId="urn:microsoft.com/office/officeart/2005/8/layout/cycle2"/>
    <dgm:cxn modelId="{780FFAAF-2808-114C-B64C-83C5A414F0DF}" type="presOf" srcId="{FC9E978E-14DC-FA4A-9845-8B31AFCBA686}" destId="{D4C46D54-7C06-E24E-901E-F779573EBB88}" srcOrd="0" destOrd="0" presId="urn:microsoft.com/office/officeart/2005/8/layout/cycle2"/>
    <dgm:cxn modelId="{559C2BC0-2C9E-B942-AD36-ED577277F9A4}" type="presOf" srcId="{432C4976-4DD6-364A-ABF1-90E4AB37B3F5}" destId="{D9F41B2C-7372-734F-8545-A7839A237CA6}" srcOrd="0" destOrd="0" presId="urn:microsoft.com/office/officeart/2005/8/layout/cycle2"/>
    <dgm:cxn modelId="{6C0B7FC7-562C-4141-9912-6228664465F9}" type="presOf" srcId="{34658E23-D4A7-0043-8947-FD2CC8AA4BBC}" destId="{11B16632-3AF8-3B4B-85B4-6FD8695DFD3F}" srcOrd="0" destOrd="0" presId="urn:microsoft.com/office/officeart/2005/8/layout/cycle2"/>
    <dgm:cxn modelId="{2E2AB4EC-D526-7948-92D2-925752E3591A}" type="presOf" srcId="{EE752CA4-0E3C-9C49-A30E-2C00D3A4E9AE}" destId="{C38BE90F-8299-7646-8EDC-36215AA3DA6E}" srcOrd="0" destOrd="0" presId="urn:microsoft.com/office/officeart/2005/8/layout/cycle2"/>
    <dgm:cxn modelId="{7789FAF0-3380-7E4B-B225-5B2CE5B62E35}" srcId="{47BD5D20-E563-BC40-9C5A-845A31498E07}" destId="{93404994-D9C1-E24D-8F57-18BD035D0286}" srcOrd="0" destOrd="0" parTransId="{7D5841BE-95CC-CC43-9AE8-A1BF88D06231}" sibTransId="{FC9E978E-14DC-FA4A-9845-8B31AFCBA686}"/>
    <dgm:cxn modelId="{BF44DFF3-2FF5-A04D-ADA5-4A99CBFDBEBE}" type="presOf" srcId="{CF2F2B04-B32D-D641-BB30-4EAD770FF70B}" destId="{A71BA631-9E30-694A-B798-6AE5B2FDD51C}" srcOrd="0" destOrd="0" presId="urn:microsoft.com/office/officeart/2005/8/layout/cycle2"/>
    <dgm:cxn modelId="{B36046F5-3B74-0041-BBAE-E4D6775AA3F9}" type="presOf" srcId="{C98B3770-543B-8748-897A-1B559F736B33}" destId="{A4656779-D238-5945-9063-73272A9575F9}" srcOrd="1" destOrd="0" presId="urn:microsoft.com/office/officeart/2005/8/layout/cycle2"/>
    <dgm:cxn modelId="{91E8A640-684C-8443-B8DA-69AE179BA0A3}" type="presParOf" srcId="{C83F74CF-0508-264D-A8C6-4B85B31CA39E}" destId="{8665A722-FAE5-0743-8243-5C558DC8FA37}" srcOrd="0" destOrd="0" presId="urn:microsoft.com/office/officeart/2005/8/layout/cycle2"/>
    <dgm:cxn modelId="{1AC38015-1296-954B-9081-34C6CF31B7A7}" type="presParOf" srcId="{C83F74CF-0508-264D-A8C6-4B85B31CA39E}" destId="{D4C46D54-7C06-E24E-901E-F779573EBB88}" srcOrd="1" destOrd="0" presId="urn:microsoft.com/office/officeart/2005/8/layout/cycle2"/>
    <dgm:cxn modelId="{4535AF3E-4D97-DF46-BE85-3B438F2DAC5F}" type="presParOf" srcId="{D4C46D54-7C06-E24E-901E-F779573EBB88}" destId="{837BE92E-1501-EA4F-AE90-0E27B116D72C}" srcOrd="0" destOrd="0" presId="urn:microsoft.com/office/officeart/2005/8/layout/cycle2"/>
    <dgm:cxn modelId="{916C19AB-1AFE-F44F-B6F3-8FCFE58BA0F7}" type="presParOf" srcId="{C83F74CF-0508-264D-A8C6-4B85B31CA39E}" destId="{C38BE90F-8299-7646-8EDC-36215AA3DA6E}" srcOrd="2" destOrd="0" presId="urn:microsoft.com/office/officeart/2005/8/layout/cycle2"/>
    <dgm:cxn modelId="{D8382BE0-89E8-814A-84CD-A63E0E78CB79}" type="presParOf" srcId="{C83F74CF-0508-264D-A8C6-4B85B31CA39E}" destId="{11B16632-3AF8-3B4B-85B4-6FD8695DFD3F}" srcOrd="3" destOrd="0" presId="urn:microsoft.com/office/officeart/2005/8/layout/cycle2"/>
    <dgm:cxn modelId="{3D9C17E3-0C88-F941-9EB1-572EEF288A04}" type="presParOf" srcId="{11B16632-3AF8-3B4B-85B4-6FD8695DFD3F}" destId="{CB6EB068-1F9E-104C-98B8-8AB26F7FA4B3}" srcOrd="0" destOrd="0" presId="urn:microsoft.com/office/officeart/2005/8/layout/cycle2"/>
    <dgm:cxn modelId="{D89D7970-34E5-A745-A934-73664533FF69}" type="presParOf" srcId="{C83F74CF-0508-264D-A8C6-4B85B31CA39E}" destId="{99FFAF1C-8D16-5C42-937E-84E7A810F4BB}" srcOrd="4" destOrd="0" presId="urn:microsoft.com/office/officeart/2005/8/layout/cycle2"/>
    <dgm:cxn modelId="{BCAA284D-923E-CA4F-B6F5-9C3EA0346FA7}" type="presParOf" srcId="{C83F74CF-0508-264D-A8C6-4B85B31CA39E}" destId="{D9F41B2C-7372-734F-8545-A7839A237CA6}" srcOrd="5" destOrd="0" presId="urn:microsoft.com/office/officeart/2005/8/layout/cycle2"/>
    <dgm:cxn modelId="{66DEE884-45C6-2444-A2A5-ABB70B9394FD}" type="presParOf" srcId="{D9F41B2C-7372-734F-8545-A7839A237CA6}" destId="{495FA2AC-58FE-4C44-A3B4-AD94183BAC32}" srcOrd="0" destOrd="0" presId="urn:microsoft.com/office/officeart/2005/8/layout/cycle2"/>
    <dgm:cxn modelId="{79602EDB-8E47-DF4F-9BB2-FC6F727AD1E1}" type="presParOf" srcId="{C83F74CF-0508-264D-A8C6-4B85B31CA39E}" destId="{D3205548-0A7F-C647-AC69-98D0F87F08BD}" srcOrd="6" destOrd="0" presId="urn:microsoft.com/office/officeart/2005/8/layout/cycle2"/>
    <dgm:cxn modelId="{AD4EA7D4-B442-C34E-A3ED-691C086B73A3}" type="presParOf" srcId="{C83F74CF-0508-264D-A8C6-4B85B31CA39E}" destId="{A71BA631-9E30-694A-B798-6AE5B2FDD51C}" srcOrd="7" destOrd="0" presId="urn:microsoft.com/office/officeart/2005/8/layout/cycle2"/>
    <dgm:cxn modelId="{09E2C133-7FFE-E744-8969-4008C37C2BD0}" type="presParOf" srcId="{A71BA631-9E30-694A-B798-6AE5B2FDD51C}" destId="{DA5A3E1E-7844-EB41-922D-3960389B8AEE}" srcOrd="0" destOrd="0" presId="urn:microsoft.com/office/officeart/2005/8/layout/cycle2"/>
    <dgm:cxn modelId="{B3BD65E7-8CE2-A244-8478-359B7BC1541B}" type="presParOf" srcId="{C83F74CF-0508-264D-A8C6-4B85B31CA39E}" destId="{E4E2CD37-A03A-0A46-BEC7-D076A2976894}" srcOrd="8" destOrd="0" presId="urn:microsoft.com/office/officeart/2005/8/layout/cycle2"/>
    <dgm:cxn modelId="{63F33476-7FF8-F441-9589-D4928FF3B35B}" type="presParOf" srcId="{C83F74CF-0508-264D-A8C6-4B85B31CA39E}" destId="{FF22B9E1-1178-AF40-8075-D980F1D31EE4}" srcOrd="9" destOrd="0" presId="urn:microsoft.com/office/officeart/2005/8/layout/cycle2"/>
    <dgm:cxn modelId="{F17474B2-F26C-AD4F-B0F7-61A37FBF9CBC}" type="presParOf" srcId="{FF22B9E1-1178-AF40-8075-D980F1D31EE4}" destId="{A4656779-D238-5945-9063-73272A9575F9}" srcOrd="0" destOrd="0" presId="urn:microsoft.com/office/officeart/2005/8/layout/cycle2"/>
    <dgm:cxn modelId="{B0C41E6F-800F-244C-A4CC-580978D4D277}" type="presParOf" srcId="{C83F74CF-0508-264D-A8C6-4B85B31CA39E}" destId="{F2D81556-9D09-EC4C-B2A6-B2B6CDAE1B2F}" srcOrd="10" destOrd="0" presId="urn:microsoft.com/office/officeart/2005/8/layout/cycle2"/>
    <dgm:cxn modelId="{0B5C0F67-442B-404F-AB57-F62B756CB96D}" type="presParOf" srcId="{C83F74CF-0508-264D-A8C6-4B85B31CA39E}" destId="{4BF7F635-DDA6-1E4B-87FA-797F93AB4D05}" srcOrd="11" destOrd="0" presId="urn:microsoft.com/office/officeart/2005/8/layout/cycle2"/>
    <dgm:cxn modelId="{16C11DF7-8C96-A044-B14E-DE4095C96C48}" type="presParOf" srcId="{4BF7F635-DDA6-1E4B-87FA-797F93AB4D05}" destId="{E6E3595B-18A5-4D42-940D-6F9F59FEED08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F83C0503-CF3F-8643-954D-F235969E8BC2}" type="doc">
      <dgm:prSet loTypeId="urn:microsoft.com/office/officeart/2005/8/layout/arrow5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B856C666-17EA-724B-8AF1-A71C0CDD7748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ác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ứ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ố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cha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ẹ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ay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ế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(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ạ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ì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ay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ế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). </a:t>
          </a:r>
        </a:p>
        <a:p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ay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ắ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ầ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ế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ớ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ả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iệ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ấ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ố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Yê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o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ố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!</a:t>
          </a:r>
        </a:p>
      </dgm:t>
    </dgm:pt>
    <dgm:pt modelId="{4246DF06-6A19-6746-BC84-0A12277BEE47}" type="parTrans" cxnId="{2A999056-7F79-8242-B37C-6C5CA4C6DA41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D9119082-3F64-414F-8DE1-CFD285D639B7}" type="sibTrans" cxnId="{2A999056-7F79-8242-B37C-6C5CA4C6DA41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17CD45D3-AF30-1843-ABB0-A05E6ABD8F3A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oà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ò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ỏ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ê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3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oạ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uồ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ự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á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:</a:t>
          </a: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uồ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ự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highlight>
                <a:srgbClr val="FFFF00"/>
              </a:highlight>
              <a:latin typeface="Times New Roman" pitchFamily="18" charset="0"/>
              <a:cs typeface="Times New Roman" pitchFamily="18" charset="0"/>
            </a:rPr>
            <a:t>cốt</a:t>
          </a:r>
          <a:r>
            <a:rPr lang="en-GB" sz="2400" dirty="0">
              <a:solidFill>
                <a:schemeClr val="tx1"/>
              </a:solidFill>
              <a:highlight>
                <a:srgbClr val="FFFF00"/>
              </a:highlight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highlight>
                <a:srgbClr val="FFFF00"/>
              </a:highlight>
              <a:latin typeface="Times New Roman" pitchFamily="18" charset="0"/>
              <a:cs typeface="Times New Roman" pitchFamily="18" charset="0"/>
            </a:rPr>
            <a:t>yếu</a:t>
          </a:r>
          <a:r>
            <a:rPr lang="en-GB" sz="2400" dirty="0">
              <a:solidFill>
                <a:schemeClr val="tx1"/>
              </a:solidFill>
              <a:highlight>
                <a:srgbClr val="FFFF00"/>
              </a:highlight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-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ề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ở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ứ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ă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ầ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áo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o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[instrumental resources]</a:t>
          </a: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uồ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ự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â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ă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ự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ộ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ạ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ỗ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â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 – Cam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ế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ì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yê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í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ự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ự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tin</a:t>
          </a: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uồ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ự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ã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ộ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ố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ệ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u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[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ạ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ướ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ỗ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ợ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)</a:t>
          </a:r>
        </a:p>
      </dgm:t>
    </dgm:pt>
    <dgm:pt modelId="{B662554A-895E-2D48-B0B3-00D3E232FAD6}" type="parTrans" cxnId="{827BE3A4-5B8D-3E4C-8B63-AC9EF67C0818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3840D152-C45F-A44D-BE88-36FFECC1E30B}" type="sibTrans" cxnId="{827BE3A4-5B8D-3E4C-8B63-AC9EF67C0818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A938C5CB-615C-344E-BB45-31F39678CC52}" type="pres">
      <dgm:prSet presAssocID="{F83C0503-CF3F-8643-954D-F235969E8BC2}" presName="diagram" presStyleCnt="0">
        <dgm:presLayoutVars>
          <dgm:dir/>
          <dgm:resizeHandles val="exact"/>
        </dgm:presLayoutVars>
      </dgm:prSet>
      <dgm:spPr/>
    </dgm:pt>
    <dgm:pt modelId="{1A779271-A17A-4648-9AE6-590A3FD7D794}" type="pres">
      <dgm:prSet presAssocID="{B856C666-17EA-724B-8AF1-A71C0CDD7748}" presName="arrow" presStyleLbl="node1" presStyleIdx="0" presStyleCnt="2">
        <dgm:presLayoutVars>
          <dgm:bulletEnabled val="1"/>
        </dgm:presLayoutVars>
      </dgm:prSet>
      <dgm:spPr/>
    </dgm:pt>
    <dgm:pt modelId="{2245D429-2CAC-F14A-BDF7-E47DD3E80A90}" type="pres">
      <dgm:prSet presAssocID="{17CD45D3-AF30-1843-ABB0-A05E6ABD8F3A}" presName="arrow" presStyleLbl="node1" presStyleIdx="1" presStyleCnt="2">
        <dgm:presLayoutVars>
          <dgm:bulletEnabled val="1"/>
        </dgm:presLayoutVars>
      </dgm:prSet>
      <dgm:spPr/>
    </dgm:pt>
  </dgm:ptLst>
  <dgm:cxnLst>
    <dgm:cxn modelId="{E525E45D-4EF4-4BC9-8A1D-8B40437AAAB3}" type="presOf" srcId="{17CD45D3-AF30-1843-ABB0-A05E6ABD8F3A}" destId="{2245D429-2CAC-F14A-BDF7-E47DD3E80A90}" srcOrd="0" destOrd="0" presId="urn:microsoft.com/office/officeart/2005/8/layout/arrow5"/>
    <dgm:cxn modelId="{2A999056-7F79-8242-B37C-6C5CA4C6DA41}" srcId="{F83C0503-CF3F-8643-954D-F235969E8BC2}" destId="{B856C666-17EA-724B-8AF1-A71C0CDD7748}" srcOrd="0" destOrd="0" parTransId="{4246DF06-6A19-6746-BC84-0A12277BEE47}" sibTransId="{D9119082-3F64-414F-8DE1-CFD285D639B7}"/>
    <dgm:cxn modelId="{827BE3A4-5B8D-3E4C-8B63-AC9EF67C0818}" srcId="{F83C0503-CF3F-8643-954D-F235969E8BC2}" destId="{17CD45D3-AF30-1843-ABB0-A05E6ABD8F3A}" srcOrd="1" destOrd="0" parTransId="{B662554A-895E-2D48-B0B3-00D3E232FAD6}" sibTransId="{3840D152-C45F-A44D-BE88-36FFECC1E30B}"/>
    <dgm:cxn modelId="{DB2BDFB2-95A1-440C-A2A0-827569C3C594}" type="presOf" srcId="{B856C666-17EA-724B-8AF1-A71C0CDD7748}" destId="{1A779271-A17A-4648-9AE6-590A3FD7D794}" srcOrd="0" destOrd="0" presId="urn:microsoft.com/office/officeart/2005/8/layout/arrow5"/>
    <dgm:cxn modelId="{FF9374E3-CFAB-4D82-9D60-2BC3ED4CDA16}" type="presOf" srcId="{F83C0503-CF3F-8643-954D-F235969E8BC2}" destId="{A938C5CB-615C-344E-BB45-31F39678CC52}" srcOrd="0" destOrd="0" presId="urn:microsoft.com/office/officeart/2005/8/layout/arrow5"/>
    <dgm:cxn modelId="{45081487-5A88-496F-926B-AC6E44E5412F}" type="presParOf" srcId="{A938C5CB-615C-344E-BB45-31F39678CC52}" destId="{1A779271-A17A-4648-9AE6-590A3FD7D794}" srcOrd="0" destOrd="0" presId="urn:microsoft.com/office/officeart/2005/8/layout/arrow5"/>
    <dgm:cxn modelId="{DB5FD84A-B77B-4D0D-A019-122E8417ACB5}" type="presParOf" srcId="{A938C5CB-615C-344E-BB45-31F39678CC52}" destId="{2245D429-2CAC-F14A-BDF7-E47DD3E80A90}" srcOrd="1" destOrd="0" presId="urn:microsoft.com/office/officeart/2005/8/layout/arrow5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F10DB298-E4A9-D943-9BC6-08077C8C83CD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AF84B050-6BAF-1D41-91FE-5781D7A2B1A4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4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ặc</a:t>
          </a:r>
          <a:r>
            <a:rPr lang="en-GB" sz="4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4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ính</a:t>
          </a:r>
          <a:r>
            <a:rPr lang="en-GB" sz="4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4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4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4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4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4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ớn</a:t>
          </a:r>
          <a:endParaRPr lang="en-GB" sz="40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3F6BB09D-3AF7-394A-BE1F-161FA3632DBE}" type="parTrans" cxnId="{8AF73144-329C-9942-9538-E6FAE27049A7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FA0F430A-2136-6849-8F85-80B1840A9357}" type="sibTrans" cxnId="{8AF73144-329C-9942-9538-E6FAE27049A7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3DAB3D8C-4B45-C74D-8769-A89B2E59EF18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ặc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ính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endParaRPr lang="en-GB" sz="28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[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Yêu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]</a:t>
          </a:r>
        </a:p>
      </dgm:t>
    </dgm:pt>
    <dgm:pt modelId="{13388A20-9483-5847-9F65-3657E0AADAD8}" type="parTrans" cxnId="{52BE38C2-ABFE-AB4F-87C0-605A619144FA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AD87F0FE-4467-D64F-B505-D351774E87EF}" type="sibTrans" cxnId="{52BE38C2-ABFE-AB4F-87C0-605A619144FA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E040800C-DAF4-7D47-926F-53C155D6AED1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ặ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í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uồ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ực</a:t>
          </a:r>
          <a:endParaRPr lang="en-GB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34BC6FA4-24A4-F549-A235-423461B9B34A}" type="parTrans" cxnId="{526EEA4B-4B53-0145-BC7A-13183DCC3EB5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B31CB272-1022-9841-9F17-1E540EA25933}" type="sibTrans" cxnId="{526EEA4B-4B53-0145-BC7A-13183DCC3EB5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CA9A6E86-CE9B-A943-85F9-D68BA2833C9F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ặ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í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ề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ậ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ự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uộ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ố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ì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ày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uầ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á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ă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..</a:t>
          </a:r>
        </a:p>
      </dgm:t>
    </dgm:pt>
    <dgm:pt modelId="{A0CB6522-C756-1F45-8884-63F16460A529}" type="parTrans" cxnId="{6FCD2E9A-726C-EA42-86BB-96B258E7F59A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66434782-68FE-3A46-BF9D-9C87794ED273}" type="sibTrans" cxnId="{6FCD2E9A-726C-EA42-86BB-96B258E7F59A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2083CED1-4BB6-444F-96AE-05840B00A6A5}" type="pres">
      <dgm:prSet presAssocID="{F10DB298-E4A9-D943-9BC6-08077C8C83CD}" presName="matrix" presStyleCnt="0">
        <dgm:presLayoutVars>
          <dgm:chMax val="1"/>
          <dgm:dir/>
          <dgm:resizeHandles val="exact"/>
        </dgm:presLayoutVars>
      </dgm:prSet>
      <dgm:spPr/>
    </dgm:pt>
    <dgm:pt modelId="{0EAD5226-4156-EC47-8950-3FED28D24BC8}" type="pres">
      <dgm:prSet presAssocID="{F10DB298-E4A9-D943-9BC6-08077C8C83CD}" presName="diamond" presStyleLbl="bgShp" presStyleIdx="0" presStyleCnt="1"/>
      <dgm:spPr/>
    </dgm:pt>
    <dgm:pt modelId="{816EE78F-2281-1D43-8C99-B4E69DB3882F}" type="pres">
      <dgm:prSet presAssocID="{F10DB298-E4A9-D943-9BC6-08077C8C83CD}" presName="quad1" presStyleLbl="node1" presStyleIdx="0" presStyleCnt="4" custScaleX="184359" custLinFactX="-44938" custLinFactNeighborX="-100000" custLinFactNeighborY="-4507">
        <dgm:presLayoutVars>
          <dgm:chMax val="0"/>
          <dgm:chPref val="0"/>
          <dgm:bulletEnabled val="1"/>
        </dgm:presLayoutVars>
      </dgm:prSet>
      <dgm:spPr/>
    </dgm:pt>
    <dgm:pt modelId="{FE66F014-7FBF-2E4F-ADC8-0FBC1D57F71F}" type="pres">
      <dgm:prSet presAssocID="{F10DB298-E4A9-D943-9BC6-08077C8C83CD}" presName="quad2" presStyleLbl="node1" presStyleIdx="1" presStyleCnt="4" custScaleX="158887" custLinFactNeighborX="-74090" custLinFactNeighborY="-4507">
        <dgm:presLayoutVars>
          <dgm:chMax val="0"/>
          <dgm:chPref val="0"/>
          <dgm:bulletEnabled val="1"/>
        </dgm:presLayoutVars>
      </dgm:prSet>
      <dgm:spPr/>
    </dgm:pt>
    <dgm:pt modelId="{0789115B-134B-4F4C-AF78-B11A86C031D0}" type="pres">
      <dgm:prSet presAssocID="{F10DB298-E4A9-D943-9BC6-08077C8C83CD}" presName="quad3" presStyleLbl="node1" presStyleIdx="2" presStyleCnt="4" custScaleX="189046" custLinFactX="-42447" custLinFactNeighborX="-100000" custLinFactNeighborY="7652">
        <dgm:presLayoutVars>
          <dgm:chMax val="0"/>
          <dgm:chPref val="0"/>
          <dgm:bulletEnabled val="1"/>
        </dgm:presLayoutVars>
      </dgm:prSet>
      <dgm:spPr/>
    </dgm:pt>
    <dgm:pt modelId="{097A9BF6-EBF2-F74A-844D-106CE44BDABD}" type="pres">
      <dgm:prSet presAssocID="{F10DB298-E4A9-D943-9BC6-08077C8C83CD}" presName="quad4" presStyleLbl="node1" presStyleIdx="3" presStyleCnt="4" custScaleX="170442" custLinFactNeighborX="-48667" custLinFactNeighborY="7652">
        <dgm:presLayoutVars>
          <dgm:chMax val="0"/>
          <dgm:chPref val="0"/>
          <dgm:bulletEnabled val="1"/>
        </dgm:presLayoutVars>
      </dgm:prSet>
      <dgm:spPr/>
    </dgm:pt>
  </dgm:ptLst>
  <dgm:cxnLst>
    <dgm:cxn modelId="{CE4AAE2A-33C0-1A4C-ACFE-FE17448D1C84}" type="presOf" srcId="{CA9A6E86-CE9B-A943-85F9-D68BA2833C9F}" destId="{097A9BF6-EBF2-F74A-844D-106CE44BDABD}" srcOrd="0" destOrd="0" presId="urn:microsoft.com/office/officeart/2005/8/layout/matrix3"/>
    <dgm:cxn modelId="{285C483E-44A3-D740-941D-4AAEC2C32B3B}" type="presOf" srcId="{AF84B050-6BAF-1D41-91FE-5781D7A2B1A4}" destId="{816EE78F-2281-1D43-8C99-B4E69DB3882F}" srcOrd="0" destOrd="0" presId="urn:microsoft.com/office/officeart/2005/8/layout/matrix3"/>
    <dgm:cxn modelId="{8AF73144-329C-9942-9538-E6FAE27049A7}" srcId="{F10DB298-E4A9-D943-9BC6-08077C8C83CD}" destId="{AF84B050-6BAF-1D41-91FE-5781D7A2B1A4}" srcOrd="0" destOrd="0" parTransId="{3F6BB09D-3AF7-394A-BE1F-161FA3632DBE}" sibTransId="{FA0F430A-2136-6849-8F85-80B1840A9357}"/>
    <dgm:cxn modelId="{526EEA4B-4B53-0145-BC7A-13183DCC3EB5}" srcId="{F10DB298-E4A9-D943-9BC6-08077C8C83CD}" destId="{E040800C-DAF4-7D47-926F-53C155D6AED1}" srcOrd="2" destOrd="0" parTransId="{34BC6FA4-24A4-F549-A235-423461B9B34A}" sibTransId="{B31CB272-1022-9841-9F17-1E540EA25933}"/>
    <dgm:cxn modelId="{C73AEB93-E9E5-9943-A2E7-5000CF9611FF}" type="presOf" srcId="{F10DB298-E4A9-D943-9BC6-08077C8C83CD}" destId="{2083CED1-4BB6-444F-96AE-05840B00A6A5}" srcOrd="0" destOrd="0" presId="urn:microsoft.com/office/officeart/2005/8/layout/matrix3"/>
    <dgm:cxn modelId="{6FCD2E9A-726C-EA42-86BB-96B258E7F59A}" srcId="{F10DB298-E4A9-D943-9BC6-08077C8C83CD}" destId="{CA9A6E86-CE9B-A943-85F9-D68BA2833C9F}" srcOrd="3" destOrd="0" parTransId="{A0CB6522-C756-1F45-8884-63F16460A529}" sibTransId="{66434782-68FE-3A46-BF9D-9C87794ED273}"/>
    <dgm:cxn modelId="{52BE38C2-ABFE-AB4F-87C0-605A619144FA}" srcId="{F10DB298-E4A9-D943-9BC6-08077C8C83CD}" destId="{3DAB3D8C-4B45-C74D-8769-A89B2E59EF18}" srcOrd="1" destOrd="0" parTransId="{13388A20-9483-5847-9F65-3657E0AADAD8}" sibTransId="{AD87F0FE-4467-D64F-B505-D351774E87EF}"/>
    <dgm:cxn modelId="{FF3B5FD2-A655-9741-9480-00FFF305BB7A}" type="presOf" srcId="{E040800C-DAF4-7D47-926F-53C155D6AED1}" destId="{0789115B-134B-4F4C-AF78-B11A86C031D0}" srcOrd="0" destOrd="0" presId="urn:microsoft.com/office/officeart/2005/8/layout/matrix3"/>
    <dgm:cxn modelId="{A7EF80EB-CA5E-1042-B819-36778CA7FB48}" type="presOf" srcId="{3DAB3D8C-4B45-C74D-8769-A89B2E59EF18}" destId="{FE66F014-7FBF-2E4F-ADC8-0FBC1D57F71F}" srcOrd="0" destOrd="0" presId="urn:microsoft.com/office/officeart/2005/8/layout/matrix3"/>
    <dgm:cxn modelId="{1F425F4E-2EC9-7746-8912-1714909C334A}" type="presParOf" srcId="{2083CED1-4BB6-444F-96AE-05840B00A6A5}" destId="{0EAD5226-4156-EC47-8950-3FED28D24BC8}" srcOrd="0" destOrd="0" presId="urn:microsoft.com/office/officeart/2005/8/layout/matrix3"/>
    <dgm:cxn modelId="{5BE56EDF-AAA9-9544-AC41-BCE8776E8A87}" type="presParOf" srcId="{2083CED1-4BB6-444F-96AE-05840B00A6A5}" destId="{816EE78F-2281-1D43-8C99-B4E69DB3882F}" srcOrd="1" destOrd="0" presId="urn:microsoft.com/office/officeart/2005/8/layout/matrix3"/>
    <dgm:cxn modelId="{A8F5018E-8A1B-8A48-A8B1-41A40E62F9A7}" type="presParOf" srcId="{2083CED1-4BB6-444F-96AE-05840B00A6A5}" destId="{FE66F014-7FBF-2E4F-ADC8-0FBC1D57F71F}" srcOrd="2" destOrd="0" presId="urn:microsoft.com/office/officeart/2005/8/layout/matrix3"/>
    <dgm:cxn modelId="{1EBBCAB1-51D8-3643-9BDD-B140A5C51FD1}" type="presParOf" srcId="{2083CED1-4BB6-444F-96AE-05840B00A6A5}" destId="{0789115B-134B-4F4C-AF78-B11A86C031D0}" srcOrd="3" destOrd="0" presId="urn:microsoft.com/office/officeart/2005/8/layout/matrix3"/>
    <dgm:cxn modelId="{39ACB461-1D99-9946-A419-82F4D2F5DBE0}" type="presParOf" srcId="{2083CED1-4BB6-444F-96AE-05840B00A6A5}" destId="{097A9BF6-EBF2-F74A-844D-106CE44BDABD}" srcOrd="4" destOrd="0" presId="urn:microsoft.com/office/officeart/2005/8/layout/matrix3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A2868DA4-2A62-204D-8380-F422030D2EBC}" type="doc">
      <dgm:prSet loTypeId="urn:microsoft.com/office/officeart/2005/8/layout/cycle6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220E4ED-3839-EE40-B1C0-762AABD7B835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1. INTERNET– Gia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ă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ận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ách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iếu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iểm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oát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ô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tin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phù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ả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ă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iểm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oát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ô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tin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ày</a:t>
          </a:r>
          <a:endParaRPr lang="en-US" sz="2000" dirty="0">
            <a:solidFill>
              <a:srgbClr val="000000"/>
            </a:solidFill>
            <a:latin typeface="Times New Roman" pitchFamily="18" charset="0"/>
            <a:cs typeface="Times New Roman" pitchFamily="18" charset="0"/>
          </a:endParaRPr>
        </a:p>
      </dgm:t>
    </dgm:pt>
    <dgm:pt modelId="{6993CE6B-43C4-A141-8B71-DA7C19B920F1}" type="parTrans" cxnId="{A8DC0F2D-6F2B-D242-9AF5-C1BF3D1E28F4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271F0690-34A6-0F4F-8977-0F900CB817C4}" type="sibTrans" cxnId="{A8DC0F2D-6F2B-D242-9AF5-C1BF3D1E28F4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B620BAFB-E7F6-4B49-B0E0-24A818D96FAB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2. Gia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ă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ích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ích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ình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ảnh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ối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ô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qua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uyền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ô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iện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ử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-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ay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ổi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ối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âm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(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dẫn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ới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ó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ăn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ọc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ập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)</a:t>
          </a:r>
        </a:p>
      </dgm:t>
    </dgm:pt>
    <dgm:pt modelId="{6EC467A8-159B-4C46-A1D8-FF7C4044C453}" type="parTrans" cxnId="{309CC46E-79D5-304C-BA32-C6E9A8CBA342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096B0292-056F-BF4F-AFBB-44326D524C5F}" type="sibTrans" cxnId="{309CC46E-79D5-304C-BA32-C6E9A8CBA342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B50B3560-1D72-B14F-9245-37C67CDF0BCB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3. Gia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ă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ận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ấn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phẩm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iêu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dâm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[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a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ính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ạo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ực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gây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ấn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]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ên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ạ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ườ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rất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ít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ịnh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ướ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ới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iểu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ú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ắn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ề</a:t>
          </a:r>
          <a:r>
            <a:rPr lang="en-US" sz="2000" dirty="0">
              <a:solidFill>
                <a:srgbClr val="000000"/>
              </a:solidFill>
              <a:highlight>
                <a:srgbClr val="FFFF00"/>
              </a:highlight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highlight>
                <a:srgbClr val="FFFF00"/>
              </a:highlight>
              <a:latin typeface="Times New Roman" pitchFamily="18" charset="0"/>
              <a:cs typeface="Times New Roman" pitchFamily="18" charset="0"/>
            </a:rPr>
            <a:t>tình</a:t>
          </a:r>
          <a:r>
            <a:rPr lang="en-US" sz="2000" dirty="0">
              <a:solidFill>
                <a:srgbClr val="000000"/>
              </a:solidFill>
              <a:highlight>
                <a:srgbClr val="FFFF00"/>
              </a:highlight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highlight>
                <a:srgbClr val="FFFF00"/>
              </a:highlight>
              <a:latin typeface="Times New Roman" pitchFamily="18" charset="0"/>
              <a:cs typeface="Times New Roman" pitchFamily="18" charset="0"/>
            </a:rPr>
            <a:t>dục</a:t>
          </a:r>
          <a:endParaRPr lang="en-US" sz="2000" dirty="0">
            <a:solidFill>
              <a:srgbClr val="000000"/>
            </a:solidFill>
            <a:highlight>
              <a:srgbClr val="FFFF00"/>
            </a:highlight>
            <a:latin typeface="Times New Roman" pitchFamily="18" charset="0"/>
            <a:cs typeface="Times New Roman" pitchFamily="18" charset="0"/>
          </a:endParaRPr>
        </a:p>
      </dgm:t>
    </dgm:pt>
    <dgm:pt modelId="{EE393F90-1243-754E-BF1F-F233FD4148BD}" type="parTrans" cxnId="{F08C57CA-E06F-B445-85FD-A89856D9406D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F9174542-CE7A-3948-8587-20DC7731C36D}" type="sibTrans" cxnId="{F08C57CA-E06F-B445-85FD-A89856D9406D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26AA4994-6DC0-1043-A641-225E86B97FDD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4. Gia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ă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(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ể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ất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ình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dục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)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ẫn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au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ử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dụ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ạ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xã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ội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ể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ắt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ạt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iêu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ích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au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.</a:t>
          </a:r>
        </a:p>
      </dgm:t>
    </dgm:pt>
    <dgm:pt modelId="{70F0182C-0CAD-D24C-A0F5-9201DF21A270}" type="parTrans" cxnId="{50440B70-3FCF-1D4B-8751-55D694747A63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E6C1F0DC-129D-2F4C-8804-137CA61C507B}" type="sibTrans" cxnId="{50440B70-3FCF-1D4B-8751-55D694747A63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EB3177EB-302C-DB41-B815-910EF5AB93DC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5.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ất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ãn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ất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ọ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u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ập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(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ghèo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)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ình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ám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dỗ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ời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ố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ô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ghệ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-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Iphone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áy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ính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ò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ơi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iện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ử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</a:p>
      </dgm:t>
    </dgm:pt>
    <dgm:pt modelId="{30736515-6A9B-D441-ABDA-8FF653067319}" type="parTrans" cxnId="{0EBD78D6-3895-984E-9FE7-A955306B2067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72A4C1A1-0827-2941-AE00-4089D6AD4F4F}" type="sibTrans" cxnId="{0EBD78D6-3895-984E-9FE7-A955306B2067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70BF3023-BC83-C84A-BFF3-A6F93FFA29B4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6. Gia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ă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ách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ức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ối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ai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ò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quyền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ạn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ổ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ức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xã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ội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ư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ình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à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à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ờ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...</a:t>
          </a:r>
        </a:p>
      </dgm:t>
    </dgm:pt>
    <dgm:pt modelId="{36A87E64-1962-5B4D-8D10-44692ADE80C0}" type="parTrans" cxnId="{8ED9B311-C9AB-924E-A3B9-621CF65A20A1}">
      <dgm:prSet/>
      <dgm:spPr/>
      <dgm:t>
        <a:bodyPr/>
        <a:lstStyle/>
        <a:p>
          <a:endParaRPr lang="en-US" sz="2000"/>
        </a:p>
      </dgm:t>
    </dgm:pt>
    <dgm:pt modelId="{3788CCB5-0E5C-C74D-B6D2-3F2F81286355}" type="sibTrans" cxnId="{8ED9B311-C9AB-924E-A3B9-621CF65A20A1}">
      <dgm:prSet/>
      <dgm:spPr/>
      <dgm:t>
        <a:bodyPr/>
        <a:lstStyle/>
        <a:p>
          <a:endParaRPr lang="en-US" sz="2000"/>
        </a:p>
      </dgm:t>
    </dgm:pt>
    <dgm:pt modelId="{6F31F731-597C-C343-8B8C-5E6380CFE65D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7.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ừa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ảo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ên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ạng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dẫn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ới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guy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ơ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ể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ị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uôn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án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óc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ột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US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ại</a:t>
          </a:r>
          <a:endParaRPr lang="en-US" sz="2000" dirty="0">
            <a:solidFill>
              <a:srgbClr val="000000"/>
            </a:solidFill>
            <a:latin typeface="Times New Roman" pitchFamily="18" charset="0"/>
            <a:cs typeface="Times New Roman" pitchFamily="18" charset="0"/>
          </a:endParaRPr>
        </a:p>
      </dgm:t>
    </dgm:pt>
    <dgm:pt modelId="{A52566D4-9DE8-744C-810B-70F45EBFD2B8}" type="parTrans" cxnId="{27E51024-46E0-9347-A067-F125D2CA55FB}">
      <dgm:prSet/>
      <dgm:spPr/>
      <dgm:t>
        <a:bodyPr/>
        <a:lstStyle/>
        <a:p>
          <a:endParaRPr lang="en-US" sz="2000"/>
        </a:p>
      </dgm:t>
    </dgm:pt>
    <dgm:pt modelId="{86C107C1-6022-E54B-AA7B-3C1895C316A4}" type="sibTrans" cxnId="{27E51024-46E0-9347-A067-F125D2CA55FB}">
      <dgm:prSet/>
      <dgm:spPr/>
      <dgm:t>
        <a:bodyPr/>
        <a:lstStyle/>
        <a:p>
          <a:endParaRPr lang="en-US" sz="2000"/>
        </a:p>
      </dgm:t>
    </dgm:pt>
    <dgm:pt modelId="{7EB392C8-F48F-2F4D-8F95-368226C4D644}" type="pres">
      <dgm:prSet presAssocID="{A2868DA4-2A62-204D-8380-F422030D2EBC}" presName="cycle" presStyleCnt="0">
        <dgm:presLayoutVars>
          <dgm:dir/>
          <dgm:resizeHandles val="exact"/>
        </dgm:presLayoutVars>
      </dgm:prSet>
      <dgm:spPr/>
    </dgm:pt>
    <dgm:pt modelId="{7BF99339-274D-F241-B4C7-584494ED2084}" type="pres">
      <dgm:prSet presAssocID="{3220E4ED-3839-EE40-B1C0-762AABD7B835}" presName="node" presStyleLbl="node1" presStyleIdx="0" presStyleCnt="7" custScaleX="477394" custRadScaleRad="102236" custRadScaleInc="-44286">
        <dgm:presLayoutVars>
          <dgm:bulletEnabled val="1"/>
        </dgm:presLayoutVars>
      </dgm:prSet>
      <dgm:spPr/>
    </dgm:pt>
    <dgm:pt modelId="{5D6B40D3-3706-6C49-BD2E-96D40BA62507}" type="pres">
      <dgm:prSet presAssocID="{3220E4ED-3839-EE40-B1C0-762AABD7B835}" presName="spNode" presStyleCnt="0"/>
      <dgm:spPr/>
    </dgm:pt>
    <dgm:pt modelId="{3D0FEDAF-EA20-064D-A49D-711A01DF23F8}" type="pres">
      <dgm:prSet presAssocID="{271F0690-34A6-0F4F-8977-0F900CB817C4}" presName="sibTrans" presStyleLbl="sibTrans1D1" presStyleIdx="0" presStyleCnt="7"/>
      <dgm:spPr/>
    </dgm:pt>
    <dgm:pt modelId="{63229594-22EF-BD49-A849-82B0DC5ED75E}" type="pres">
      <dgm:prSet presAssocID="{B620BAFB-E7F6-4B49-B0E0-24A818D96FAB}" presName="node" presStyleLbl="node1" presStyleIdx="1" presStyleCnt="7" custScaleX="323882" custScaleY="172019" custRadScaleRad="164040" custRadScaleInc="135596">
        <dgm:presLayoutVars>
          <dgm:bulletEnabled val="1"/>
        </dgm:presLayoutVars>
      </dgm:prSet>
      <dgm:spPr/>
    </dgm:pt>
    <dgm:pt modelId="{0101CB29-93F5-2F45-BE5B-2C9251F7C211}" type="pres">
      <dgm:prSet presAssocID="{B620BAFB-E7F6-4B49-B0E0-24A818D96FAB}" presName="spNode" presStyleCnt="0"/>
      <dgm:spPr/>
    </dgm:pt>
    <dgm:pt modelId="{564D0876-698D-FB42-AC5A-DA01EF6B128F}" type="pres">
      <dgm:prSet presAssocID="{096B0292-056F-BF4F-AFBB-44326D524C5F}" presName="sibTrans" presStyleLbl="sibTrans1D1" presStyleIdx="1" presStyleCnt="7"/>
      <dgm:spPr/>
    </dgm:pt>
    <dgm:pt modelId="{DF18B855-C985-C54E-B4D8-713B921EB645}" type="pres">
      <dgm:prSet presAssocID="{B50B3560-1D72-B14F-9245-37C67CDF0BCB}" presName="node" presStyleLbl="node1" presStyleIdx="2" presStyleCnt="7" custScaleX="338967" custScaleY="159048" custRadScaleRad="151353" custRadScaleInc="-31618">
        <dgm:presLayoutVars>
          <dgm:bulletEnabled val="1"/>
        </dgm:presLayoutVars>
      </dgm:prSet>
      <dgm:spPr/>
    </dgm:pt>
    <dgm:pt modelId="{48E3B312-8002-064A-B3B0-F38683BE0EB9}" type="pres">
      <dgm:prSet presAssocID="{B50B3560-1D72-B14F-9245-37C67CDF0BCB}" presName="spNode" presStyleCnt="0"/>
      <dgm:spPr/>
    </dgm:pt>
    <dgm:pt modelId="{D78FD835-21EE-F041-9EBA-2E09CDD94A1E}" type="pres">
      <dgm:prSet presAssocID="{F9174542-CE7A-3948-8587-20DC7731C36D}" presName="sibTrans" presStyleLbl="sibTrans1D1" presStyleIdx="2" presStyleCnt="7"/>
      <dgm:spPr/>
    </dgm:pt>
    <dgm:pt modelId="{7AF889D0-717D-8948-AE04-990264B99462}" type="pres">
      <dgm:prSet presAssocID="{26AA4994-6DC0-1043-A641-225E86B97FDD}" presName="node" presStyleLbl="node1" presStyleIdx="3" presStyleCnt="7" custScaleX="365388" custScaleY="133505" custRadScaleRad="140292" custRadScaleInc="-176071">
        <dgm:presLayoutVars>
          <dgm:bulletEnabled val="1"/>
        </dgm:presLayoutVars>
      </dgm:prSet>
      <dgm:spPr/>
    </dgm:pt>
    <dgm:pt modelId="{8AA1E8F6-4C44-A84C-99AC-AE7A2C89330D}" type="pres">
      <dgm:prSet presAssocID="{26AA4994-6DC0-1043-A641-225E86B97FDD}" presName="spNode" presStyleCnt="0"/>
      <dgm:spPr/>
    </dgm:pt>
    <dgm:pt modelId="{2D98A949-2474-334D-9A89-114DA155865D}" type="pres">
      <dgm:prSet presAssocID="{E6C1F0DC-129D-2F4C-8804-137CA61C507B}" presName="sibTrans" presStyleLbl="sibTrans1D1" presStyleIdx="3" presStyleCnt="7"/>
      <dgm:spPr/>
    </dgm:pt>
    <dgm:pt modelId="{3D452F14-6E6D-8F49-9269-E3001B527C66}" type="pres">
      <dgm:prSet presAssocID="{EB3177EB-302C-DB41-B815-910EF5AB93DC}" presName="node" presStyleLbl="node1" presStyleIdx="4" presStyleCnt="7" custScaleX="324512" custScaleY="142154" custRadScaleRad="121562" custRadScaleInc="146292">
        <dgm:presLayoutVars>
          <dgm:bulletEnabled val="1"/>
        </dgm:presLayoutVars>
      </dgm:prSet>
      <dgm:spPr/>
    </dgm:pt>
    <dgm:pt modelId="{E80624F3-8935-2146-94D0-9D39DB0E29AA}" type="pres">
      <dgm:prSet presAssocID="{EB3177EB-302C-DB41-B815-910EF5AB93DC}" presName="spNode" presStyleCnt="0"/>
      <dgm:spPr/>
    </dgm:pt>
    <dgm:pt modelId="{879355CB-4FD8-5B41-8BD3-C61CC8A56166}" type="pres">
      <dgm:prSet presAssocID="{72A4C1A1-0827-2941-AE00-4089D6AD4F4F}" presName="sibTrans" presStyleLbl="sibTrans1D1" presStyleIdx="4" presStyleCnt="7"/>
      <dgm:spPr/>
    </dgm:pt>
    <dgm:pt modelId="{1A022AF2-40D2-1F4D-AD03-67778070A1B9}" type="pres">
      <dgm:prSet presAssocID="{70BF3023-BC83-C84A-BFF3-A6F93FFA29B4}" presName="node" presStyleLbl="node1" presStyleIdx="5" presStyleCnt="7" custScaleX="317839" custScaleY="157906" custRadScaleRad="151395" custRadScaleInc="45355">
        <dgm:presLayoutVars>
          <dgm:bulletEnabled val="1"/>
        </dgm:presLayoutVars>
      </dgm:prSet>
      <dgm:spPr/>
    </dgm:pt>
    <dgm:pt modelId="{C62DD04F-26CB-CF49-97AE-F62AC2600D85}" type="pres">
      <dgm:prSet presAssocID="{70BF3023-BC83-C84A-BFF3-A6F93FFA29B4}" presName="spNode" presStyleCnt="0"/>
      <dgm:spPr/>
    </dgm:pt>
    <dgm:pt modelId="{C5F0246F-9226-474F-AB76-B726BBF1CD52}" type="pres">
      <dgm:prSet presAssocID="{3788CCB5-0E5C-C74D-B6D2-3F2F81286355}" presName="sibTrans" presStyleLbl="sibTrans1D1" presStyleIdx="5" presStyleCnt="7"/>
      <dgm:spPr/>
    </dgm:pt>
    <dgm:pt modelId="{F9433460-C091-2840-AA62-EB5290E6C844}" type="pres">
      <dgm:prSet presAssocID="{6F31F731-597C-C343-8B8C-5E6380CFE65D}" presName="node" presStyleLbl="node1" presStyleIdx="6" presStyleCnt="7" custScaleX="281510" custScaleY="135039" custRadScaleRad="140946" custRadScaleInc="-117954">
        <dgm:presLayoutVars>
          <dgm:bulletEnabled val="1"/>
        </dgm:presLayoutVars>
      </dgm:prSet>
      <dgm:spPr/>
    </dgm:pt>
    <dgm:pt modelId="{3B9DEDFB-36EC-894E-B7BF-758D748D6A62}" type="pres">
      <dgm:prSet presAssocID="{6F31F731-597C-C343-8B8C-5E6380CFE65D}" presName="spNode" presStyleCnt="0"/>
      <dgm:spPr/>
    </dgm:pt>
    <dgm:pt modelId="{7201D132-1141-5444-8D80-9B7631DB6C3D}" type="pres">
      <dgm:prSet presAssocID="{86C107C1-6022-E54B-AA7B-3C1895C316A4}" presName="sibTrans" presStyleLbl="sibTrans1D1" presStyleIdx="6" presStyleCnt="7"/>
      <dgm:spPr/>
    </dgm:pt>
  </dgm:ptLst>
  <dgm:cxnLst>
    <dgm:cxn modelId="{A5C8E300-DA83-7843-905A-D3B3D0A75981}" type="presOf" srcId="{096B0292-056F-BF4F-AFBB-44326D524C5F}" destId="{564D0876-698D-FB42-AC5A-DA01EF6B128F}" srcOrd="0" destOrd="0" presId="urn:microsoft.com/office/officeart/2005/8/layout/cycle6"/>
    <dgm:cxn modelId="{00058A0B-37C2-604C-8366-4182AAAEA608}" type="presOf" srcId="{72A4C1A1-0827-2941-AE00-4089D6AD4F4F}" destId="{879355CB-4FD8-5B41-8BD3-C61CC8A56166}" srcOrd="0" destOrd="0" presId="urn:microsoft.com/office/officeart/2005/8/layout/cycle6"/>
    <dgm:cxn modelId="{8ED9B311-C9AB-924E-A3B9-621CF65A20A1}" srcId="{A2868DA4-2A62-204D-8380-F422030D2EBC}" destId="{70BF3023-BC83-C84A-BFF3-A6F93FFA29B4}" srcOrd="5" destOrd="0" parTransId="{36A87E64-1962-5B4D-8D10-44692ADE80C0}" sibTransId="{3788CCB5-0E5C-C74D-B6D2-3F2F81286355}"/>
    <dgm:cxn modelId="{DF672315-822F-9841-B2ED-6F39B7A6952F}" type="presOf" srcId="{271F0690-34A6-0F4F-8977-0F900CB817C4}" destId="{3D0FEDAF-EA20-064D-A49D-711A01DF23F8}" srcOrd="0" destOrd="0" presId="urn:microsoft.com/office/officeart/2005/8/layout/cycle6"/>
    <dgm:cxn modelId="{A95C0517-0BE8-EC47-A4FC-C71FF7E04BB4}" type="presOf" srcId="{86C107C1-6022-E54B-AA7B-3C1895C316A4}" destId="{7201D132-1141-5444-8D80-9B7631DB6C3D}" srcOrd="0" destOrd="0" presId="urn:microsoft.com/office/officeart/2005/8/layout/cycle6"/>
    <dgm:cxn modelId="{39F03517-57A5-8C49-A3C6-288660C8AA83}" type="presOf" srcId="{3788CCB5-0E5C-C74D-B6D2-3F2F81286355}" destId="{C5F0246F-9226-474F-AB76-B726BBF1CD52}" srcOrd="0" destOrd="0" presId="urn:microsoft.com/office/officeart/2005/8/layout/cycle6"/>
    <dgm:cxn modelId="{27E51024-46E0-9347-A067-F125D2CA55FB}" srcId="{A2868DA4-2A62-204D-8380-F422030D2EBC}" destId="{6F31F731-597C-C343-8B8C-5E6380CFE65D}" srcOrd="6" destOrd="0" parTransId="{A52566D4-9DE8-744C-810B-70F45EBFD2B8}" sibTransId="{86C107C1-6022-E54B-AA7B-3C1895C316A4}"/>
    <dgm:cxn modelId="{A8DC0F2D-6F2B-D242-9AF5-C1BF3D1E28F4}" srcId="{A2868DA4-2A62-204D-8380-F422030D2EBC}" destId="{3220E4ED-3839-EE40-B1C0-762AABD7B835}" srcOrd="0" destOrd="0" parTransId="{6993CE6B-43C4-A141-8B71-DA7C19B920F1}" sibTransId="{271F0690-34A6-0F4F-8977-0F900CB817C4}"/>
    <dgm:cxn modelId="{8139D22F-C1FF-9F4F-8C61-576E9F6759FD}" type="presOf" srcId="{EB3177EB-302C-DB41-B815-910EF5AB93DC}" destId="{3D452F14-6E6D-8F49-9269-E3001B527C66}" srcOrd="0" destOrd="0" presId="urn:microsoft.com/office/officeart/2005/8/layout/cycle6"/>
    <dgm:cxn modelId="{91F8A43A-B667-A545-A0A4-A42B92FDC2A6}" type="presOf" srcId="{3220E4ED-3839-EE40-B1C0-762AABD7B835}" destId="{7BF99339-274D-F241-B4C7-584494ED2084}" srcOrd="0" destOrd="0" presId="urn:microsoft.com/office/officeart/2005/8/layout/cycle6"/>
    <dgm:cxn modelId="{FE7BBE6E-3029-B445-B5EB-8DED5140B363}" type="presOf" srcId="{26AA4994-6DC0-1043-A641-225E86B97FDD}" destId="{7AF889D0-717D-8948-AE04-990264B99462}" srcOrd="0" destOrd="0" presId="urn:microsoft.com/office/officeart/2005/8/layout/cycle6"/>
    <dgm:cxn modelId="{309CC46E-79D5-304C-BA32-C6E9A8CBA342}" srcId="{A2868DA4-2A62-204D-8380-F422030D2EBC}" destId="{B620BAFB-E7F6-4B49-B0E0-24A818D96FAB}" srcOrd="1" destOrd="0" parTransId="{6EC467A8-159B-4C46-A1D8-FF7C4044C453}" sibTransId="{096B0292-056F-BF4F-AFBB-44326D524C5F}"/>
    <dgm:cxn modelId="{50440B70-3FCF-1D4B-8751-55D694747A63}" srcId="{A2868DA4-2A62-204D-8380-F422030D2EBC}" destId="{26AA4994-6DC0-1043-A641-225E86B97FDD}" srcOrd="3" destOrd="0" parTransId="{70F0182C-0CAD-D24C-A0F5-9201DF21A270}" sibTransId="{E6C1F0DC-129D-2F4C-8804-137CA61C507B}"/>
    <dgm:cxn modelId="{589B0257-AE53-AD41-ADFF-6E132E01240C}" type="presOf" srcId="{B50B3560-1D72-B14F-9245-37C67CDF0BCB}" destId="{DF18B855-C985-C54E-B4D8-713B921EB645}" srcOrd="0" destOrd="0" presId="urn:microsoft.com/office/officeart/2005/8/layout/cycle6"/>
    <dgm:cxn modelId="{01415F89-8AB0-6947-BE07-27115EDA3802}" type="presOf" srcId="{A2868DA4-2A62-204D-8380-F422030D2EBC}" destId="{7EB392C8-F48F-2F4D-8F95-368226C4D644}" srcOrd="0" destOrd="0" presId="urn:microsoft.com/office/officeart/2005/8/layout/cycle6"/>
    <dgm:cxn modelId="{1F55599E-DC76-C647-AF6C-9DAA3A9A57BB}" type="presOf" srcId="{F9174542-CE7A-3948-8587-20DC7731C36D}" destId="{D78FD835-21EE-F041-9EBA-2E09CDD94A1E}" srcOrd="0" destOrd="0" presId="urn:microsoft.com/office/officeart/2005/8/layout/cycle6"/>
    <dgm:cxn modelId="{E5D3CDBA-BD95-524B-939A-578CC8BAD20B}" type="presOf" srcId="{70BF3023-BC83-C84A-BFF3-A6F93FFA29B4}" destId="{1A022AF2-40D2-1F4D-AD03-67778070A1B9}" srcOrd="0" destOrd="0" presId="urn:microsoft.com/office/officeart/2005/8/layout/cycle6"/>
    <dgm:cxn modelId="{CD2F77BD-1540-BC48-A384-0C4FFD3EB722}" type="presOf" srcId="{6F31F731-597C-C343-8B8C-5E6380CFE65D}" destId="{F9433460-C091-2840-AA62-EB5290E6C844}" srcOrd="0" destOrd="0" presId="urn:microsoft.com/office/officeart/2005/8/layout/cycle6"/>
    <dgm:cxn modelId="{632D01BE-F322-0447-A354-03F8257F499B}" type="presOf" srcId="{E6C1F0DC-129D-2F4C-8804-137CA61C507B}" destId="{2D98A949-2474-334D-9A89-114DA155865D}" srcOrd="0" destOrd="0" presId="urn:microsoft.com/office/officeart/2005/8/layout/cycle6"/>
    <dgm:cxn modelId="{F08C57CA-E06F-B445-85FD-A89856D9406D}" srcId="{A2868DA4-2A62-204D-8380-F422030D2EBC}" destId="{B50B3560-1D72-B14F-9245-37C67CDF0BCB}" srcOrd="2" destOrd="0" parTransId="{EE393F90-1243-754E-BF1F-F233FD4148BD}" sibTransId="{F9174542-CE7A-3948-8587-20DC7731C36D}"/>
    <dgm:cxn modelId="{0EBD78D6-3895-984E-9FE7-A955306B2067}" srcId="{A2868DA4-2A62-204D-8380-F422030D2EBC}" destId="{EB3177EB-302C-DB41-B815-910EF5AB93DC}" srcOrd="4" destOrd="0" parTransId="{30736515-6A9B-D441-ABDA-8FF653067319}" sibTransId="{72A4C1A1-0827-2941-AE00-4089D6AD4F4F}"/>
    <dgm:cxn modelId="{F765ABF0-4922-E54B-91E6-2A9F411325CD}" type="presOf" srcId="{B620BAFB-E7F6-4B49-B0E0-24A818D96FAB}" destId="{63229594-22EF-BD49-A849-82B0DC5ED75E}" srcOrd="0" destOrd="0" presId="urn:microsoft.com/office/officeart/2005/8/layout/cycle6"/>
    <dgm:cxn modelId="{3AA48ED2-D1B8-4740-B66C-71BA9E89FF4B}" type="presParOf" srcId="{7EB392C8-F48F-2F4D-8F95-368226C4D644}" destId="{7BF99339-274D-F241-B4C7-584494ED2084}" srcOrd="0" destOrd="0" presId="urn:microsoft.com/office/officeart/2005/8/layout/cycle6"/>
    <dgm:cxn modelId="{DBA3C9D1-9B4E-954D-BC43-B4495FCBD3CB}" type="presParOf" srcId="{7EB392C8-F48F-2F4D-8F95-368226C4D644}" destId="{5D6B40D3-3706-6C49-BD2E-96D40BA62507}" srcOrd="1" destOrd="0" presId="urn:microsoft.com/office/officeart/2005/8/layout/cycle6"/>
    <dgm:cxn modelId="{4CDEA648-A26E-744E-AA53-23525903203C}" type="presParOf" srcId="{7EB392C8-F48F-2F4D-8F95-368226C4D644}" destId="{3D0FEDAF-EA20-064D-A49D-711A01DF23F8}" srcOrd="2" destOrd="0" presId="urn:microsoft.com/office/officeart/2005/8/layout/cycle6"/>
    <dgm:cxn modelId="{7E8FEE03-9AA0-124A-A7C4-F229BD3B1778}" type="presParOf" srcId="{7EB392C8-F48F-2F4D-8F95-368226C4D644}" destId="{63229594-22EF-BD49-A849-82B0DC5ED75E}" srcOrd="3" destOrd="0" presId="urn:microsoft.com/office/officeart/2005/8/layout/cycle6"/>
    <dgm:cxn modelId="{43E3BD88-75D3-8043-995D-5ABCC6E1078E}" type="presParOf" srcId="{7EB392C8-F48F-2F4D-8F95-368226C4D644}" destId="{0101CB29-93F5-2F45-BE5B-2C9251F7C211}" srcOrd="4" destOrd="0" presId="urn:microsoft.com/office/officeart/2005/8/layout/cycle6"/>
    <dgm:cxn modelId="{50F49F93-AAAA-F24F-BC42-D586CA586928}" type="presParOf" srcId="{7EB392C8-F48F-2F4D-8F95-368226C4D644}" destId="{564D0876-698D-FB42-AC5A-DA01EF6B128F}" srcOrd="5" destOrd="0" presId="urn:microsoft.com/office/officeart/2005/8/layout/cycle6"/>
    <dgm:cxn modelId="{E694B2D0-3CBB-C842-B787-A6B286A7018C}" type="presParOf" srcId="{7EB392C8-F48F-2F4D-8F95-368226C4D644}" destId="{DF18B855-C985-C54E-B4D8-713B921EB645}" srcOrd="6" destOrd="0" presId="urn:microsoft.com/office/officeart/2005/8/layout/cycle6"/>
    <dgm:cxn modelId="{FBD15F1A-A83C-D54C-B9D2-17DE278DC829}" type="presParOf" srcId="{7EB392C8-F48F-2F4D-8F95-368226C4D644}" destId="{48E3B312-8002-064A-B3B0-F38683BE0EB9}" srcOrd="7" destOrd="0" presId="urn:microsoft.com/office/officeart/2005/8/layout/cycle6"/>
    <dgm:cxn modelId="{8AE6B55E-DE0F-424F-87C0-571E05F21A1A}" type="presParOf" srcId="{7EB392C8-F48F-2F4D-8F95-368226C4D644}" destId="{D78FD835-21EE-F041-9EBA-2E09CDD94A1E}" srcOrd="8" destOrd="0" presId="urn:microsoft.com/office/officeart/2005/8/layout/cycle6"/>
    <dgm:cxn modelId="{052F9070-3691-9941-A735-A84CCF957B3B}" type="presParOf" srcId="{7EB392C8-F48F-2F4D-8F95-368226C4D644}" destId="{7AF889D0-717D-8948-AE04-990264B99462}" srcOrd="9" destOrd="0" presId="urn:microsoft.com/office/officeart/2005/8/layout/cycle6"/>
    <dgm:cxn modelId="{0D4D17FB-329B-BF4F-BFFC-DD49238ECD89}" type="presParOf" srcId="{7EB392C8-F48F-2F4D-8F95-368226C4D644}" destId="{8AA1E8F6-4C44-A84C-99AC-AE7A2C89330D}" srcOrd="10" destOrd="0" presId="urn:microsoft.com/office/officeart/2005/8/layout/cycle6"/>
    <dgm:cxn modelId="{DCD34872-E60A-0842-BDD8-C804FD3C3AD7}" type="presParOf" srcId="{7EB392C8-F48F-2F4D-8F95-368226C4D644}" destId="{2D98A949-2474-334D-9A89-114DA155865D}" srcOrd="11" destOrd="0" presId="urn:microsoft.com/office/officeart/2005/8/layout/cycle6"/>
    <dgm:cxn modelId="{E5CC1DE4-A423-7D49-AA3D-02B10464AB48}" type="presParOf" srcId="{7EB392C8-F48F-2F4D-8F95-368226C4D644}" destId="{3D452F14-6E6D-8F49-9269-E3001B527C66}" srcOrd="12" destOrd="0" presId="urn:microsoft.com/office/officeart/2005/8/layout/cycle6"/>
    <dgm:cxn modelId="{97A8DA9E-00AD-3F49-BB5A-2FE686028A53}" type="presParOf" srcId="{7EB392C8-F48F-2F4D-8F95-368226C4D644}" destId="{E80624F3-8935-2146-94D0-9D39DB0E29AA}" srcOrd="13" destOrd="0" presId="urn:microsoft.com/office/officeart/2005/8/layout/cycle6"/>
    <dgm:cxn modelId="{A24BAE27-1EB7-234F-9901-2AE70AB2E6F2}" type="presParOf" srcId="{7EB392C8-F48F-2F4D-8F95-368226C4D644}" destId="{879355CB-4FD8-5B41-8BD3-C61CC8A56166}" srcOrd="14" destOrd="0" presId="urn:microsoft.com/office/officeart/2005/8/layout/cycle6"/>
    <dgm:cxn modelId="{7F806227-5378-5141-B958-2547A13243B7}" type="presParOf" srcId="{7EB392C8-F48F-2F4D-8F95-368226C4D644}" destId="{1A022AF2-40D2-1F4D-AD03-67778070A1B9}" srcOrd="15" destOrd="0" presId="urn:microsoft.com/office/officeart/2005/8/layout/cycle6"/>
    <dgm:cxn modelId="{9AAFCBB5-7B87-B245-BEE7-EAB4C4523F66}" type="presParOf" srcId="{7EB392C8-F48F-2F4D-8F95-368226C4D644}" destId="{C62DD04F-26CB-CF49-97AE-F62AC2600D85}" srcOrd="16" destOrd="0" presId="urn:microsoft.com/office/officeart/2005/8/layout/cycle6"/>
    <dgm:cxn modelId="{6E9CCB5B-EFE3-9145-9443-BBF481FDAB82}" type="presParOf" srcId="{7EB392C8-F48F-2F4D-8F95-368226C4D644}" destId="{C5F0246F-9226-474F-AB76-B726BBF1CD52}" srcOrd="17" destOrd="0" presId="urn:microsoft.com/office/officeart/2005/8/layout/cycle6"/>
    <dgm:cxn modelId="{1524DE8A-2A95-BB4F-9476-316DD5A8A55A}" type="presParOf" srcId="{7EB392C8-F48F-2F4D-8F95-368226C4D644}" destId="{F9433460-C091-2840-AA62-EB5290E6C844}" srcOrd="18" destOrd="0" presId="urn:microsoft.com/office/officeart/2005/8/layout/cycle6"/>
    <dgm:cxn modelId="{207EB41D-0FD5-BA42-AAF2-5D14F4013D01}" type="presParOf" srcId="{7EB392C8-F48F-2F4D-8F95-368226C4D644}" destId="{3B9DEDFB-36EC-894E-B7BF-758D748D6A62}" srcOrd="19" destOrd="0" presId="urn:microsoft.com/office/officeart/2005/8/layout/cycle6"/>
    <dgm:cxn modelId="{23D7D38D-6E2C-B44D-8033-63FF3D6E25E8}" type="presParOf" srcId="{7EB392C8-F48F-2F4D-8F95-368226C4D644}" destId="{7201D132-1141-5444-8D80-9B7631DB6C3D}" srcOrd="20" destOrd="0" presId="urn:microsoft.com/office/officeart/2005/8/layout/cycle6"/>
  </dgm:cxnLst>
  <dgm:bg>
    <a:solidFill>
      <a:srgbClr val="CCFFCC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C3779E20-D7B0-5C40-A23E-39ADB509A124}" type="doc">
      <dgm:prSet loTypeId="urn:microsoft.com/office/officeart/2005/8/layout/cycle3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217B6F0-1A8A-DB40-9889-0B69BE1A1A23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ghèo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ói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iếu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u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ập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à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ở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giáo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dục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y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ế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ằm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o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ách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ầu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ủ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phù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iển</a:t>
          </a:r>
          <a:endParaRPr lang="en-US" sz="2400" dirty="0">
            <a:solidFill>
              <a:srgbClr val="000000"/>
            </a:solidFill>
            <a:latin typeface="Times New Roman" pitchFamily="18" charset="0"/>
            <a:cs typeface="Times New Roman" pitchFamily="18" charset="0"/>
          </a:endParaRPr>
        </a:p>
      </dgm:t>
    </dgm:pt>
    <dgm:pt modelId="{1A07258A-13DE-8442-BD4F-26AB03A141B8}" type="parTrans" cxnId="{2ECFE087-CAC7-6F40-ACA9-2D25F2B5B585}">
      <dgm:prSet/>
      <dgm:spPr/>
      <dgm:t>
        <a:bodyPr/>
        <a:lstStyle/>
        <a:p>
          <a:endParaRPr lang="en-US" sz="2400">
            <a:solidFill>
              <a:srgbClr val="000000"/>
            </a:solidFill>
          </a:endParaRPr>
        </a:p>
      </dgm:t>
    </dgm:pt>
    <dgm:pt modelId="{674AF164-FAB5-CB44-89BB-C72779ACB4AF}" type="sibTrans" cxnId="{2ECFE087-CAC7-6F40-ACA9-2D25F2B5B585}">
      <dgm:prSet/>
      <dgm:spPr/>
      <dgm:t>
        <a:bodyPr/>
        <a:lstStyle/>
        <a:p>
          <a:endParaRPr lang="en-US" sz="2400">
            <a:solidFill>
              <a:srgbClr val="000000"/>
            </a:solidFill>
          </a:endParaRPr>
        </a:p>
      </dgm:t>
    </dgm:pt>
    <dgm:pt modelId="{5B47E902-D7BA-6D40-A750-E4AC8F4D8023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Gia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ình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y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án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ị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xáo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ộn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(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í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dụ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cha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ẹ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ơn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ân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)</a:t>
          </a:r>
        </a:p>
      </dgm:t>
    </dgm:pt>
    <dgm:pt modelId="{0CFD6E67-9E56-1F48-8926-5333653F74C2}" type="parTrans" cxnId="{E8B08034-2064-F144-A2B5-95DC4950B354}">
      <dgm:prSet/>
      <dgm:spPr/>
      <dgm:t>
        <a:bodyPr/>
        <a:lstStyle/>
        <a:p>
          <a:endParaRPr lang="en-US" sz="2400">
            <a:solidFill>
              <a:srgbClr val="000000"/>
            </a:solidFill>
          </a:endParaRPr>
        </a:p>
      </dgm:t>
    </dgm:pt>
    <dgm:pt modelId="{9F88E8A3-F512-B14D-A588-9D53426D2A57}" type="sibTrans" cxnId="{E8B08034-2064-F144-A2B5-95DC4950B354}">
      <dgm:prSet/>
      <dgm:spPr/>
      <dgm:t>
        <a:bodyPr/>
        <a:lstStyle/>
        <a:p>
          <a:endParaRPr lang="en-US" sz="2400">
            <a:solidFill>
              <a:srgbClr val="000000"/>
            </a:solidFill>
          </a:endParaRPr>
        </a:p>
      </dgm:t>
    </dgm:pt>
    <dgm:pt modelId="{C3A46CF3-A120-9540-B269-7AE617DB5496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ạo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ực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ình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ứng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iến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ạo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ực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xảy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ra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ình</a:t>
          </a:r>
          <a:endParaRPr lang="en-US" sz="2400" dirty="0">
            <a:solidFill>
              <a:srgbClr val="000000"/>
            </a:solidFill>
            <a:latin typeface="Times New Roman" pitchFamily="18" charset="0"/>
            <a:cs typeface="Times New Roman" pitchFamily="18" charset="0"/>
          </a:endParaRPr>
        </a:p>
      </dgm:t>
    </dgm:pt>
    <dgm:pt modelId="{B08564FD-032E-204A-9487-C9925D3AF16F}" type="parTrans" cxnId="{AB91345A-FE4E-654B-B9CB-B3979F2B7967}">
      <dgm:prSet/>
      <dgm:spPr/>
      <dgm:t>
        <a:bodyPr/>
        <a:lstStyle/>
        <a:p>
          <a:endParaRPr lang="en-US" sz="2400">
            <a:solidFill>
              <a:srgbClr val="000000"/>
            </a:solidFill>
          </a:endParaRPr>
        </a:p>
      </dgm:t>
    </dgm:pt>
    <dgm:pt modelId="{2BF35769-B5AD-C341-A8AE-E0700747DCEB}" type="sibTrans" cxnId="{AB91345A-FE4E-654B-B9CB-B3979F2B7967}">
      <dgm:prSet/>
      <dgm:spPr/>
      <dgm:t>
        <a:bodyPr/>
        <a:lstStyle/>
        <a:p>
          <a:endParaRPr lang="en-US" sz="2400">
            <a:solidFill>
              <a:srgbClr val="000000"/>
            </a:solidFill>
          </a:endParaRPr>
        </a:p>
      </dgm:t>
    </dgm:pt>
    <dgm:pt modelId="{7E708C85-F854-8548-B7B5-1DE7EC646C37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ác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ộng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ma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úy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rượu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ia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ên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ời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ống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ình</a:t>
          </a:r>
          <a:endParaRPr lang="en-US" sz="2400" dirty="0">
            <a:solidFill>
              <a:srgbClr val="000000"/>
            </a:solidFill>
            <a:latin typeface="Times New Roman" pitchFamily="18" charset="0"/>
            <a:cs typeface="Times New Roman" pitchFamily="18" charset="0"/>
          </a:endParaRPr>
        </a:p>
      </dgm:t>
    </dgm:pt>
    <dgm:pt modelId="{E91A2277-1CC1-CE43-B313-71E167EC2E4A}" type="parTrans" cxnId="{5F8E7D81-9485-7D45-9808-BC086D71774D}">
      <dgm:prSet/>
      <dgm:spPr/>
      <dgm:t>
        <a:bodyPr/>
        <a:lstStyle/>
        <a:p>
          <a:endParaRPr lang="en-US" sz="2400">
            <a:solidFill>
              <a:srgbClr val="000000"/>
            </a:solidFill>
          </a:endParaRPr>
        </a:p>
      </dgm:t>
    </dgm:pt>
    <dgm:pt modelId="{BC01F991-5187-FA4D-83AE-93370211A4B0}" type="sibTrans" cxnId="{5F8E7D81-9485-7D45-9808-BC086D71774D}">
      <dgm:prSet/>
      <dgm:spPr/>
      <dgm:t>
        <a:bodyPr/>
        <a:lstStyle/>
        <a:p>
          <a:endParaRPr lang="en-US" sz="2400">
            <a:solidFill>
              <a:srgbClr val="000000"/>
            </a:solidFill>
          </a:endParaRPr>
        </a:p>
      </dgm:t>
    </dgm:pt>
    <dgm:pt modelId="{D15BF12E-FBF6-2F46-AAFE-1E5943DA8DDD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a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ẹ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i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xuất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ẩu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lao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ộng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ể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ở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à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dưới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ác</a:t>
          </a:r>
          <a:endParaRPr lang="en-US" sz="2400" dirty="0">
            <a:solidFill>
              <a:srgbClr val="000000"/>
            </a:solidFill>
            <a:latin typeface="Times New Roman" pitchFamily="18" charset="0"/>
            <a:cs typeface="Times New Roman" pitchFamily="18" charset="0"/>
          </a:endParaRPr>
        </a:p>
      </dgm:t>
    </dgm:pt>
    <dgm:pt modelId="{4FF7F9E1-E34A-534C-BE70-70BB3FA1A275}" type="parTrans" cxnId="{20C65F6F-FC25-EA4C-A9AE-15E65162960D}">
      <dgm:prSet/>
      <dgm:spPr/>
      <dgm:t>
        <a:bodyPr/>
        <a:lstStyle/>
        <a:p>
          <a:endParaRPr lang="en-US" sz="2400">
            <a:solidFill>
              <a:srgbClr val="000000"/>
            </a:solidFill>
          </a:endParaRPr>
        </a:p>
      </dgm:t>
    </dgm:pt>
    <dgm:pt modelId="{76BB0F73-E83B-2243-9C77-95F57D910F8C}" type="sibTrans" cxnId="{20C65F6F-FC25-EA4C-A9AE-15E65162960D}">
      <dgm:prSet/>
      <dgm:spPr/>
      <dgm:t>
        <a:bodyPr/>
        <a:lstStyle/>
        <a:p>
          <a:endParaRPr lang="en-US" sz="2400">
            <a:solidFill>
              <a:srgbClr val="000000"/>
            </a:solidFill>
          </a:endParaRPr>
        </a:p>
      </dgm:t>
    </dgm:pt>
    <dgm:pt modelId="{90A7B129-0705-624E-BCAC-B5E8C504BB08}">
      <dgm:prSet phldrT="[Text]" custT="1"/>
      <dgm:spPr>
        <a:solidFill>
          <a:srgbClr val="FFFFFF"/>
        </a:solidFill>
      </dgm:spPr>
      <dgm:t>
        <a:bodyPr/>
        <a:lstStyle/>
        <a:p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guy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ơ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ị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ối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uyết</a:t>
          </a:r>
          <a:r>
            <a:rPr lang="en-US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ật</a:t>
          </a:r>
          <a:endParaRPr lang="en-US" sz="2400" dirty="0">
            <a:solidFill>
              <a:srgbClr val="000000"/>
            </a:solidFill>
            <a:latin typeface="Times New Roman" pitchFamily="18" charset="0"/>
            <a:cs typeface="Times New Roman" pitchFamily="18" charset="0"/>
          </a:endParaRPr>
        </a:p>
      </dgm:t>
    </dgm:pt>
    <dgm:pt modelId="{1C39AC46-217E-0445-958B-34C505929611}" type="parTrans" cxnId="{07603868-3431-D345-B5DF-2BB7617C0398}">
      <dgm:prSet/>
      <dgm:spPr/>
      <dgm:t>
        <a:bodyPr/>
        <a:lstStyle/>
        <a:p>
          <a:endParaRPr lang="en-US" sz="2400"/>
        </a:p>
      </dgm:t>
    </dgm:pt>
    <dgm:pt modelId="{287D41FC-4869-804B-9F11-639FD61A568E}" type="sibTrans" cxnId="{07603868-3431-D345-B5DF-2BB7617C0398}">
      <dgm:prSet/>
      <dgm:spPr/>
      <dgm:t>
        <a:bodyPr/>
        <a:lstStyle/>
        <a:p>
          <a:endParaRPr lang="en-US" sz="2400"/>
        </a:p>
      </dgm:t>
    </dgm:pt>
    <dgm:pt modelId="{A90F29C8-C0C7-E248-B070-79E329E3CBBF}" type="pres">
      <dgm:prSet presAssocID="{C3779E20-D7B0-5C40-A23E-39ADB509A124}" presName="Name0" presStyleCnt="0">
        <dgm:presLayoutVars>
          <dgm:dir/>
          <dgm:resizeHandles val="exact"/>
        </dgm:presLayoutVars>
      </dgm:prSet>
      <dgm:spPr/>
    </dgm:pt>
    <dgm:pt modelId="{1D981594-2571-8F48-BC3A-1EAF2E6B82AB}" type="pres">
      <dgm:prSet presAssocID="{C3779E20-D7B0-5C40-A23E-39ADB509A124}" presName="cycle" presStyleCnt="0"/>
      <dgm:spPr/>
    </dgm:pt>
    <dgm:pt modelId="{08B7294B-BBEE-A34B-AF25-0F9A3F7611A9}" type="pres">
      <dgm:prSet presAssocID="{B217B6F0-1A8A-DB40-9889-0B69BE1A1A23}" presName="nodeFirstNode" presStyleLbl="node1" presStyleIdx="0" presStyleCnt="6" custScaleX="368743">
        <dgm:presLayoutVars>
          <dgm:bulletEnabled val="1"/>
        </dgm:presLayoutVars>
      </dgm:prSet>
      <dgm:spPr/>
    </dgm:pt>
    <dgm:pt modelId="{02F347D9-6CC7-4C4F-82D2-E9CA661146F4}" type="pres">
      <dgm:prSet presAssocID="{674AF164-FAB5-CB44-89BB-C72779ACB4AF}" presName="sibTransFirstNode" presStyleLbl="bgShp" presStyleIdx="0" presStyleCnt="1" custLinFactNeighborX="6961" custLinFactNeighborY="8765"/>
      <dgm:spPr/>
    </dgm:pt>
    <dgm:pt modelId="{62EBC565-F470-DA4B-B692-56A5D85215DF}" type="pres">
      <dgm:prSet presAssocID="{5B47E902-D7BA-6D40-A750-E4AC8F4D8023}" presName="nodeFollowingNodes" presStyleLbl="node1" presStyleIdx="1" presStyleCnt="6" custScaleX="188394" custRadScaleRad="164551" custRadScaleInc="30717">
        <dgm:presLayoutVars>
          <dgm:bulletEnabled val="1"/>
        </dgm:presLayoutVars>
      </dgm:prSet>
      <dgm:spPr/>
    </dgm:pt>
    <dgm:pt modelId="{EA2A4E4F-1E48-954B-B47E-66A7ACFEDD86}" type="pres">
      <dgm:prSet presAssocID="{C3A46CF3-A120-9540-B269-7AE617DB5496}" presName="nodeFollowingNodes" presStyleLbl="node1" presStyleIdx="2" presStyleCnt="6" custScaleX="173900" custRadScaleRad="169034" custRadScaleInc="-36577">
        <dgm:presLayoutVars>
          <dgm:bulletEnabled val="1"/>
        </dgm:presLayoutVars>
      </dgm:prSet>
      <dgm:spPr/>
    </dgm:pt>
    <dgm:pt modelId="{A65A196A-B7B5-0C47-BC31-EAAEA3FDA95D}" type="pres">
      <dgm:prSet presAssocID="{7E708C85-F854-8548-B7B5-1DE7EC646C37}" presName="nodeFollowingNodes" presStyleLbl="node1" presStyleIdx="3" presStyleCnt="6" custScaleX="204362">
        <dgm:presLayoutVars>
          <dgm:bulletEnabled val="1"/>
        </dgm:presLayoutVars>
      </dgm:prSet>
      <dgm:spPr/>
    </dgm:pt>
    <dgm:pt modelId="{83EDB9D3-FA67-7E46-9D31-00330C4DC99F}" type="pres">
      <dgm:prSet presAssocID="{D15BF12E-FBF6-2F46-AAFE-1E5943DA8DDD}" presName="nodeFollowingNodes" presStyleLbl="node1" presStyleIdx="4" presStyleCnt="6" custScaleX="194256" custRadScaleRad="161724" custRadScaleInc="37251">
        <dgm:presLayoutVars>
          <dgm:bulletEnabled val="1"/>
        </dgm:presLayoutVars>
      </dgm:prSet>
      <dgm:spPr/>
    </dgm:pt>
    <dgm:pt modelId="{87CE9B25-1479-AE43-8D89-E7DA99D4B5CF}" type="pres">
      <dgm:prSet presAssocID="{90A7B129-0705-624E-BCAC-B5E8C504BB08}" presName="nodeFollowingNodes" presStyleLbl="node1" presStyleIdx="5" presStyleCnt="6" custScaleX="172966" custRadScaleRad="185505" custRadScaleInc="-33891">
        <dgm:presLayoutVars>
          <dgm:bulletEnabled val="1"/>
        </dgm:presLayoutVars>
      </dgm:prSet>
      <dgm:spPr/>
    </dgm:pt>
  </dgm:ptLst>
  <dgm:cxnLst>
    <dgm:cxn modelId="{8861D500-0941-1445-ABB4-592BCE98B056}" type="presOf" srcId="{674AF164-FAB5-CB44-89BB-C72779ACB4AF}" destId="{02F347D9-6CC7-4C4F-82D2-E9CA661146F4}" srcOrd="0" destOrd="0" presId="urn:microsoft.com/office/officeart/2005/8/layout/cycle3"/>
    <dgm:cxn modelId="{E8B08034-2064-F144-A2B5-95DC4950B354}" srcId="{C3779E20-D7B0-5C40-A23E-39ADB509A124}" destId="{5B47E902-D7BA-6D40-A750-E4AC8F4D8023}" srcOrd="1" destOrd="0" parTransId="{0CFD6E67-9E56-1F48-8926-5333653F74C2}" sibTransId="{9F88E8A3-F512-B14D-A588-9D53426D2A57}"/>
    <dgm:cxn modelId="{07603868-3431-D345-B5DF-2BB7617C0398}" srcId="{C3779E20-D7B0-5C40-A23E-39ADB509A124}" destId="{90A7B129-0705-624E-BCAC-B5E8C504BB08}" srcOrd="5" destOrd="0" parTransId="{1C39AC46-217E-0445-958B-34C505929611}" sibTransId="{287D41FC-4869-804B-9F11-639FD61A568E}"/>
    <dgm:cxn modelId="{925ACE4C-7D5B-7444-ADF0-85F648981690}" type="presOf" srcId="{90A7B129-0705-624E-BCAC-B5E8C504BB08}" destId="{87CE9B25-1479-AE43-8D89-E7DA99D4B5CF}" srcOrd="0" destOrd="0" presId="urn:microsoft.com/office/officeart/2005/8/layout/cycle3"/>
    <dgm:cxn modelId="{20C65F6F-FC25-EA4C-A9AE-15E65162960D}" srcId="{C3779E20-D7B0-5C40-A23E-39ADB509A124}" destId="{D15BF12E-FBF6-2F46-AAFE-1E5943DA8DDD}" srcOrd="4" destOrd="0" parTransId="{4FF7F9E1-E34A-534C-BE70-70BB3FA1A275}" sibTransId="{76BB0F73-E83B-2243-9C77-95F57D910F8C}"/>
    <dgm:cxn modelId="{0806F877-CF51-4741-A882-2A377368BD91}" type="presOf" srcId="{C3A46CF3-A120-9540-B269-7AE617DB5496}" destId="{EA2A4E4F-1E48-954B-B47E-66A7ACFEDD86}" srcOrd="0" destOrd="0" presId="urn:microsoft.com/office/officeart/2005/8/layout/cycle3"/>
    <dgm:cxn modelId="{AB91345A-FE4E-654B-B9CB-B3979F2B7967}" srcId="{C3779E20-D7B0-5C40-A23E-39ADB509A124}" destId="{C3A46CF3-A120-9540-B269-7AE617DB5496}" srcOrd="2" destOrd="0" parTransId="{B08564FD-032E-204A-9487-C9925D3AF16F}" sibTransId="{2BF35769-B5AD-C341-A8AE-E0700747DCEB}"/>
    <dgm:cxn modelId="{5F8E7D81-9485-7D45-9808-BC086D71774D}" srcId="{C3779E20-D7B0-5C40-A23E-39ADB509A124}" destId="{7E708C85-F854-8548-B7B5-1DE7EC646C37}" srcOrd="3" destOrd="0" parTransId="{E91A2277-1CC1-CE43-B313-71E167EC2E4A}" sibTransId="{BC01F991-5187-FA4D-83AE-93370211A4B0}"/>
    <dgm:cxn modelId="{2ECFE087-CAC7-6F40-ACA9-2D25F2B5B585}" srcId="{C3779E20-D7B0-5C40-A23E-39ADB509A124}" destId="{B217B6F0-1A8A-DB40-9889-0B69BE1A1A23}" srcOrd="0" destOrd="0" parTransId="{1A07258A-13DE-8442-BD4F-26AB03A141B8}" sibTransId="{674AF164-FAB5-CB44-89BB-C72779ACB4AF}"/>
    <dgm:cxn modelId="{EFF45E90-2A8D-EB4C-BB83-F20DB28F0987}" type="presOf" srcId="{C3779E20-D7B0-5C40-A23E-39ADB509A124}" destId="{A90F29C8-C0C7-E248-B070-79E329E3CBBF}" srcOrd="0" destOrd="0" presId="urn:microsoft.com/office/officeart/2005/8/layout/cycle3"/>
    <dgm:cxn modelId="{45ECFC9C-4991-204D-A12C-62AA79723E9D}" type="presOf" srcId="{5B47E902-D7BA-6D40-A750-E4AC8F4D8023}" destId="{62EBC565-F470-DA4B-B692-56A5D85215DF}" srcOrd="0" destOrd="0" presId="urn:microsoft.com/office/officeart/2005/8/layout/cycle3"/>
    <dgm:cxn modelId="{AB55EBA7-6B7A-6F4A-887C-2743777D54BC}" type="presOf" srcId="{B217B6F0-1A8A-DB40-9889-0B69BE1A1A23}" destId="{08B7294B-BBEE-A34B-AF25-0F9A3F7611A9}" srcOrd="0" destOrd="0" presId="urn:microsoft.com/office/officeart/2005/8/layout/cycle3"/>
    <dgm:cxn modelId="{BE0781D1-789B-1E45-B138-E26EF5EECD56}" type="presOf" srcId="{7E708C85-F854-8548-B7B5-1DE7EC646C37}" destId="{A65A196A-B7B5-0C47-BC31-EAAEA3FDA95D}" srcOrd="0" destOrd="0" presId="urn:microsoft.com/office/officeart/2005/8/layout/cycle3"/>
    <dgm:cxn modelId="{1A46E3EE-2448-9B42-810D-059821EF1B47}" type="presOf" srcId="{D15BF12E-FBF6-2F46-AAFE-1E5943DA8DDD}" destId="{83EDB9D3-FA67-7E46-9D31-00330C4DC99F}" srcOrd="0" destOrd="0" presId="urn:microsoft.com/office/officeart/2005/8/layout/cycle3"/>
    <dgm:cxn modelId="{7CBB37E2-C982-5D48-865B-7DE17CCEEC87}" type="presParOf" srcId="{A90F29C8-C0C7-E248-B070-79E329E3CBBF}" destId="{1D981594-2571-8F48-BC3A-1EAF2E6B82AB}" srcOrd="0" destOrd="0" presId="urn:microsoft.com/office/officeart/2005/8/layout/cycle3"/>
    <dgm:cxn modelId="{7DE449ED-4253-CB4A-B23C-407B69F0D741}" type="presParOf" srcId="{1D981594-2571-8F48-BC3A-1EAF2E6B82AB}" destId="{08B7294B-BBEE-A34B-AF25-0F9A3F7611A9}" srcOrd="0" destOrd="0" presId="urn:microsoft.com/office/officeart/2005/8/layout/cycle3"/>
    <dgm:cxn modelId="{57394219-2A8C-064A-98BA-AEB3DA1989E1}" type="presParOf" srcId="{1D981594-2571-8F48-BC3A-1EAF2E6B82AB}" destId="{02F347D9-6CC7-4C4F-82D2-E9CA661146F4}" srcOrd="1" destOrd="0" presId="urn:microsoft.com/office/officeart/2005/8/layout/cycle3"/>
    <dgm:cxn modelId="{ECEF6575-4A85-F747-B047-E8C1D2FB2D22}" type="presParOf" srcId="{1D981594-2571-8F48-BC3A-1EAF2E6B82AB}" destId="{62EBC565-F470-DA4B-B692-56A5D85215DF}" srcOrd="2" destOrd="0" presId="urn:microsoft.com/office/officeart/2005/8/layout/cycle3"/>
    <dgm:cxn modelId="{8ED6011F-4820-A049-BF61-B6C2CD9C81EE}" type="presParOf" srcId="{1D981594-2571-8F48-BC3A-1EAF2E6B82AB}" destId="{EA2A4E4F-1E48-954B-B47E-66A7ACFEDD86}" srcOrd="3" destOrd="0" presId="urn:microsoft.com/office/officeart/2005/8/layout/cycle3"/>
    <dgm:cxn modelId="{C3B8C0F9-4295-0242-BAC2-4DE0A2DB36CD}" type="presParOf" srcId="{1D981594-2571-8F48-BC3A-1EAF2E6B82AB}" destId="{A65A196A-B7B5-0C47-BC31-EAAEA3FDA95D}" srcOrd="4" destOrd="0" presId="urn:microsoft.com/office/officeart/2005/8/layout/cycle3"/>
    <dgm:cxn modelId="{0DA856AD-0345-E341-AEEE-FFA7A3C5045D}" type="presParOf" srcId="{1D981594-2571-8F48-BC3A-1EAF2E6B82AB}" destId="{83EDB9D3-FA67-7E46-9D31-00330C4DC99F}" srcOrd="5" destOrd="0" presId="urn:microsoft.com/office/officeart/2005/8/layout/cycle3"/>
    <dgm:cxn modelId="{921D4D2D-B52F-F844-9387-545CF613886F}" type="presParOf" srcId="{1D981594-2571-8F48-BC3A-1EAF2E6B82AB}" destId="{87CE9B25-1479-AE43-8D89-E7DA99D4B5CF}" srcOrd="6" destOrd="0" presId="urn:microsoft.com/office/officeart/2005/8/layout/cycle3"/>
  </dgm:cxnLst>
  <dgm:bg>
    <a:solidFill>
      <a:srgbClr val="CCFFCC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3DAF6ADE-2330-2E4F-997F-B3588025C151}" type="doc">
      <dgm:prSet loTypeId="urn:microsoft.com/office/officeart/2005/8/layout/hierarchy3" loCatId="hierarchy" qsTypeId="urn:microsoft.com/office/officeart/2005/8/quickstyle/simple4" qsCatId="simple" csTypeId="urn:microsoft.com/office/officeart/2005/8/colors/colorful1#3" csCatId="colorful" phldr="1"/>
      <dgm:spPr/>
      <dgm:t>
        <a:bodyPr/>
        <a:lstStyle/>
        <a:p>
          <a:endParaRPr lang="en-US"/>
        </a:p>
      </dgm:t>
    </dgm:pt>
    <dgm:pt modelId="{43ADCB22-C9C3-DC40-A020-FA5C6028688D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2800" u="sng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h</a:t>
          </a:r>
          <a:r>
            <a:rPr lang="en-US" sz="2800" u="sng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vi </a:t>
          </a:r>
          <a:r>
            <a:rPr lang="en-US" sz="2800" u="sng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ủ</a:t>
          </a:r>
          <a:r>
            <a:rPr lang="en-US" sz="2800" u="sng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sng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ích</a:t>
          </a:r>
          <a:r>
            <a:rPr lang="en-US" sz="2800" u="sng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–  </a:t>
          </a:r>
          <a:r>
            <a:rPr lang="en-US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ủ</a:t>
          </a:r>
          <a:r>
            <a: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ịnh</a:t>
          </a:r>
          <a:r>
            <a: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ây</a:t>
          </a:r>
          <a:r>
            <a: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ổn</a:t>
          </a:r>
          <a:r>
            <a: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ương</a:t>
          </a:r>
          <a:r>
            <a:rPr lang="en-US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endParaRPr lang="en-US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10FF0B38-6803-A245-8EA1-352431D16CB3}" type="parTrans" cxnId="{99098235-12CF-F44A-AF6A-5DE360C15F64}">
      <dgm:prSet/>
      <dgm:spPr/>
      <dgm:t>
        <a:bodyPr/>
        <a:lstStyle/>
        <a:p>
          <a:endParaRPr lang="en-US"/>
        </a:p>
      </dgm:t>
    </dgm:pt>
    <dgm:pt modelId="{9F6EFBA6-4F8E-C94E-8790-AADA23ABB3E8}" type="sibTrans" cxnId="{99098235-12CF-F44A-AF6A-5DE360C15F64}">
      <dgm:prSet/>
      <dgm:spPr/>
      <dgm:t>
        <a:bodyPr/>
        <a:lstStyle/>
        <a:p>
          <a:endParaRPr lang="en-US"/>
        </a:p>
      </dgm:t>
    </dgm:pt>
    <dgm:pt modelId="{C9C55F1A-4622-9347-906E-FE57CB94030A}">
      <dgm:prSet phldrT="[Text]" custT="1"/>
      <dgm:spPr/>
      <dgm:t>
        <a:bodyPr/>
        <a:lstStyle/>
        <a:p>
          <a:r>
            <a:rPr lang="en-US" sz="28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nhận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thức</a:t>
          </a:r>
          <a:endParaRPr lang="en-US" sz="2800" dirty="0">
            <a:latin typeface="Times New Roman" pitchFamily="18" charset="0"/>
            <a:cs typeface="Times New Roman" pitchFamily="18" charset="0"/>
          </a:endParaRPr>
        </a:p>
      </dgm:t>
    </dgm:pt>
    <dgm:pt modelId="{7E44144E-1813-A84C-8627-A1958BFF3EC9}" type="parTrans" cxnId="{77AD0F39-2649-E443-A35F-5E661E909C11}">
      <dgm:prSet/>
      <dgm:spPr/>
      <dgm:t>
        <a:bodyPr/>
        <a:lstStyle/>
        <a:p>
          <a:endParaRPr lang="en-US" dirty="0"/>
        </a:p>
      </dgm:t>
    </dgm:pt>
    <dgm:pt modelId="{09BC2BEF-03FD-034E-850C-CB4A930FD686}" type="sibTrans" cxnId="{77AD0F39-2649-E443-A35F-5E661E909C11}">
      <dgm:prSet/>
      <dgm:spPr/>
      <dgm:t>
        <a:bodyPr/>
        <a:lstStyle/>
        <a:p>
          <a:endParaRPr lang="en-US"/>
        </a:p>
      </dgm:t>
    </dgm:pt>
    <dgm:pt modelId="{4E0DA8A7-0F9D-244E-B13A-E5356C7B1E13}">
      <dgm:prSet phldrT="[Text]" custT="1"/>
      <dgm:spPr/>
      <dgm:t>
        <a:bodyPr/>
        <a:lstStyle/>
        <a:p>
          <a:r>
            <a:rPr lang="en-US" sz="28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kế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hoạch</a:t>
          </a:r>
          <a:endParaRPr lang="en-US" sz="2800" dirty="0">
            <a:latin typeface="Times New Roman" pitchFamily="18" charset="0"/>
            <a:cs typeface="Times New Roman" pitchFamily="18" charset="0"/>
          </a:endParaRPr>
        </a:p>
      </dgm:t>
    </dgm:pt>
    <dgm:pt modelId="{521D5536-B633-EC49-8422-7F7E3C029488}" type="parTrans" cxnId="{CA62190A-820B-7248-A810-AF72362E5F95}">
      <dgm:prSet/>
      <dgm:spPr/>
      <dgm:t>
        <a:bodyPr/>
        <a:lstStyle/>
        <a:p>
          <a:endParaRPr lang="en-US" dirty="0"/>
        </a:p>
      </dgm:t>
    </dgm:pt>
    <dgm:pt modelId="{4F961E2D-DAFF-114B-AA20-3FF985CDFD3B}" type="sibTrans" cxnId="{CA62190A-820B-7248-A810-AF72362E5F95}">
      <dgm:prSet/>
      <dgm:spPr/>
      <dgm:t>
        <a:bodyPr/>
        <a:lstStyle/>
        <a:p>
          <a:endParaRPr lang="en-US"/>
        </a:p>
      </dgm:t>
    </dgm:pt>
    <dgm:pt modelId="{B3E41CC2-2B38-6646-B599-3898C409BB0C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2800" u="sng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h</a:t>
          </a:r>
          <a:r>
            <a:rPr lang="en-US" sz="2800" u="sng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vi </a:t>
          </a:r>
          <a:r>
            <a:rPr lang="en-US" sz="2800" u="sng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US" sz="2800" u="sng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sng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ủ</a:t>
          </a:r>
          <a:r>
            <a:rPr lang="en-US" sz="2800" u="sng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sng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ích</a:t>
          </a:r>
          <a:r>
            <a:rPr lang="en-US" sz="2800" u="none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- </a:t>
          </a:r>
          <a:r>
            <a:rPr lang="en-US" sz="2800" u="none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h</a:t>
          </a:r>
          <a:r>
            <a:rPr lang="en-US" sz="2800" u="none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ng</a:t>
          </a:r>
          <a:r>
            <a:rPr lang="en-US" sz="2800" u="none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US" sz="2800" u="none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ủ</a:t>
          </a:r>
          <a:r>
            <a:rPr lang="en-US" sz="2800" u="none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ịnh</a:t>
          </a:r>
          <a:r>
            <a:rPr lang="en-US" sz="2800" u="none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ưng</a:t>
          </a:r>
          <a:r>
            <a:rPr lang="en-US" sz="2800" u="none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ết</a:t>
          </a:r>
          <a:r>
            <a:rPr lang="en-US" sz="2800" u="none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ả</a:t>
          </a:r>
          <a:r>
            <a:rPr lang="en-US" sz="2800" u="none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ây</a:t>
          </a:r>
          <a:r>
            <a:rPr lang="en-US" sz="2800" u="none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ổn</a:t>
          </a:r>
          <a:r>
            <a:rPr lang="en-US" sz="2800" u="none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ương</a:t>
          </a:r>
          <a:r>
            <a:rPr lang="en-US" sz="2800" u="none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o</a:t>
          </a:r>
          <a:r>
            <a:rPr lang="en-US" sz="2800" u="none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endParaRPr lang="en-US" sz="2400" u="none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773D6A05-6DDA-4244-988B-CD126FD67399}" type="parTrans" cxnId="{DFE48139-1128-D14D-AC2A-82280C658400}">
      <dgm:prSet/>
      <dgm:spPr/>
      <dgm:t>
        <a:bodyPr/>
        <a:lstStyle/>
        <a:p>
          <a:endParaRPr lang="en-US"/>
        </a:p>
      </dgm:t>
    </dgm:pt>
    <dgm:pt modelId="{3445E07C-59C4-3549-A38D-B9598E8F8887}" type="sibTrans" cxnId="{DFE48139-1128-D14D-AC2A-82280C658400}">
      <dgm:prSet/>
      <dgm:spPr/>
      <dgm:t>
        <a:bodyPr/>
        <a:lstStyle/>
        <a:p>
          <a:endParaRPr lang="en-US"/>
        </a:p>
      </dgm:t>
    </dgm:pt>
    <dgm:pt modelId="{F47C484C-E2AA-EE4A-AD22-8991432E9BC1}">
      <dgm:prSet phldrT="[Text]" custT="1"/>
      <dgm:spPr/>
      <dgm:t>
        <a:bodyPr/>
        <a:lstStyle/>
        <a:p>
          <a:r>
            <a:rPr lang="en-US" sz="2800" dirty="0" err="1">
              <a:latin typeface="Times New Roman" pitchFamily="18" charset="0"/>
              <a:cs typeface="Times New Roman" pitchFamily="18" charset="0"/>
            </a:rPr>
            <a:t>Vô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thức</a:t>
          </a:r>
          <a:endParaRPr lang="en-US" sz="2800" dirty="0">
            <a:latin typeface="Times New Roman" pitchFamily="18" charset="0"/>
            <a:cs typeface="Times New Roman" pitchFamily="18" charset="0"/>
          </a:endParaRPr>
        </a:p>
      </dgm:t>
    </dgm:pt>
    <dgm:pt modelId="{BDD46504-E7FD-F14D-B711-AD2A13384D1D}" type="parTrans" cxnId="{55D2D9D3-939C-1240-B2F8-5CAF1C0E1AEA}">
      <dgm:prSet/>
      <dgm:spPr/>
      <dgm:t>
        <a:bodyPr/>
        <a:lstStyle/>
        <a:p>
          <a:endParaRPr lang="en-US" dirty="0"/>
        </a:p>
      </dgm:t>
    </dgm:pt>
    <dgm:pt modelId="{ECC7573C-8AA2-8D4A-A8AC-CB342D3B4EF1}" type="sibTrans" cxnId="{55D2D9D3-939C-1240-B2F8-5CAF1C0E1AEA}">
      <dgm:prSet/>
      <dgm:spPr/>
      <dgm:t>
        <a:bodyPr/>
        <a:lstStyle/>
        <a:p>
          <a:endParaRPr lang="en-US"/>
        </a:p>
      </dgm:t>
    </dgm:pt>
    <dgm:pt modelId="{044DC92E-0571-2741-9FDB-D46E70B78EC0}">
      <dgm:prSet phldrT="[Text]" custT="1"/>
      <dgm:spPr/>
      <dgm:t>
        <a:bodyPr/>
        <a:lstStyle/>
        <a:p>
          <a:r>
            <a:rPr lang="en-US" sz="2800" dirty="0" err="1">
              <a:latin typeface="Times New Roman" pitchFamily="18" charset="0"/>
              <a:cs typeface="Times New Roman" pitchFamily="18" charset="0"/>
            </a:rPr>
            <a:t>Không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kế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hoạch</a:t>
          </a:r>
          <a:endParaRPr lang="en-US" sz="2800" dirty="0">
            <a:latin typeface="Times New Roman" pitchFamily="18" charset="0"/>
            <a:cs typeface="Times New Roman" pitchFamily="18" charset="0"/>
          </a:endParaRPr>
        </a:p>
      </dgm:t>
    </dgm:pt>
    <dgm:pt modelId="{2BA1609E-3A53-C14F-A294-A71F4401E5C7}" type="parTrans" cxnId="{9FB8508B-E211-E34F-A73E-135B2AB56439}">
      <dgm:prSet/>
      <dgm:spPr/>
      <dgm:t>
        <a:bodyPr/>
        <a:lstStyle/>
        <a:p>
          <a:endParaRPr lang="en-US" dirty="0"/>
        </a:p>
      </dgm:t>
    </dgm:pt>
    <dgm:pt modelId="{1310F58C-4278-DA48-979B-93BEA2202935}" type="sibTrans" cxnId="{9FB8508B-E211-E34F-A73E-135B2AB56439}">
      <dgm:prSet/>
      <dgm:spPr/>
      <dgm:t>
        <a:bodyPr/>
        <a:lstStyle/>
        <a:p>
          <a:endParaRPr lang="en-US"/>
        </a:p>
      </dgm:t>
    </dgm:pt>
    <dgm:pt modelId="{F03EA1F9-6E10-B947-9D79-086ABC45D068}">
      <dgm:prSet phldrT="[Text]" custT="1"/>
      <dgm:spPr/>
      <dgm:t>
        <a:bodyPr/>
        <a:lstStyle/>
        <a:p>
          <a:r>
            <a:rPr lang="en-US" sz="2800" dirty="0" err="1">
              <a:latin typeface="Times New Roman" pitchFamily="18" charset="0"/>
              <a:cs typeface="Times New Roman" pitchFamily="18" charset="0"/>
            </a:rPr>
            <a:t>Chủ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tâm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gây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hại</a:t>
          </a:r>
          <a:endParaRPr lang="en-US" sz="2800" dirty="0">
            <a:latin typeface="Times New Roman" pitchFamily="18" charset="0"/>
            <a:cs typeface="Times New Roman" pitchFamily="18" charset="0"/>
          </a:endParaRPr>
        </a:p>
      </dgm:t>
    </dgm:pt>
    <dgm:pt modelId="{182979B8-0AA5-FC43-8471-485A725303A7}" type="parTrans" cxnId="{B6D63944-BAF8-7548-BA65-9F478903AF01}">
      <dgm:prSet/>
      <dgm:spPr/>
      <dgm:t>
        <a:bodyPr/>
        <a:lstStyle/>
        <a:p>
          <a:endParaRPr lang="en-US" dirty="0"/>
        </a:p>
      </dgm:t>
    </dgm:pt>
    <dgm:pt modelId="{1123BBB6-0663-524E-B541-C9CBA8BD8AFE}" type="sibTrans" cxnId="{B6D63944-BAF8-7548-BA65-9F478903AF01}">
      <dgm:prSet/>
      <dgm:spPr/>
      <dgm:t>
        <a:bodyPr/>
        <a:lstStyle/>
        <a:p>
          <a:endParaRPr lang="en-US"/>
        </a:p>
      </dgm:t>
    </dgm:pt>
    <dgm:pt modelId="{288E6174-11DC-ED44-960E-83B04C8D0DE8}">
      <dgm:prSet phldrT="[Text]" custT="1"/>
      <dgm:spPr/>
      <dgm:t>
        <a:bodyPr/>
        <a:lstStyle/>
        <a:p>
          <a:r>
            <a:rPr lang="en-US" sz="2800" dirty="0" err="1">
              <a:latin typeface="Times New Roman" pitchFamily="18" charset="0"/>
              <a:cs typeface="Times New Roman" pitchFamily="18" charset="0"/>
            </a:rPr>
            <a:t>Không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chủ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đích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gây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hại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trẻ</a:t>
          </a:r>
          <a:endParaRPr lang="en-US" sz="2800" dirty="0">
            <a:latin typeface="Times New Roman" pitchFamily="18" charset="0"/>
            <a:cs typeface="Times New Roman" pitchFamily="18" charset="0"/>
          </a:endParaRPr>
        </a:p>
      </dgm:t>
    </dgm:pt>
    <dgm:pt modelId="{C9191AA9-37D4-1447-92E9-7750AC5C06E3}" type="parTrans" cxnId="{3F09D424-6970-7941-A85B-C92D80862DC5}">
      <dgm:prSet/>
      <dgm:spPr/>
      <dgm:t>
        <a:bodyPr/>
        <a:lstStyle/>
        <a:p>
          <a:endParaRPr lang="en-US" dirty="0"/>
        </a:p>
      </dgm:t>
    </dgm:pt>
    <dgm:pt modelId="{F839EDD7-CCEF-EC46-BA59-CE41347AAD1A}" type="sibTrans" cxnId="{3F09D424-6970-7941-A85B-C92D80862DC5}">
      <dgm:prSet/>
      <dgm:spPr/>
      <dgm:t>
        <a:bodyPr/>
        <a:lstStyle/>
        <a:p>
          <a:endParaRPr lang="en-US"/>
        </a:p>
      </dgm:t>
    </dgm:pt>
    <dgm:pt modelId="{7E9B27EC-3947-F841-8929-F3575A5146F1}">
      <dgm:prSet phldrT="[Text]" custT="1"/>
      <dgm:spPr/>
      <dgm:t>
        <a:bodyPr/>
        <a:lstStyle/>
        <a:p>
          <a:r>
            <a:rPr lang="en-US" sz="2800" dirty="0" err="1">
              <a:latin typeface="Times New Roman" pitchFamily="18" charset="0"/>
              <a:cs typeface="Times New Roman" pitchFamily="18" charset="0"/>
            </a:rPr>
            <a:t>Ảnh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hưởng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bởi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cảm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xúc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(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tức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giận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,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buồn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,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thất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vọng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)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dẫn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tới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hành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vi</a:t>
          </a:r>
        </a:p>
      </dgm:t>
    </dgm:pt>
    <dgm:pt modelId="{50C36C63-2DCA-5942-8D2A-F8433714D4C3}" type="parTrans" cxnId="{0ACA34F3-D4C9-DA40-81D5-78287EA05777}">
      <dgm:prSet/>
      <dgm:spPr/>
      <dgm:t>
        <a:bodyPr/>
        <a:lstStyle/>
        <a:p>
          <a:endParaRPr lang="en-US" dirty="0"/>
        </a:p>
      </dgm:t>
    </dgm:pt>
    <dgm:pt modelId="{BD133204-4524-1A43-9DEC-509115555D60}" type="sibTrans" cxnId="{0ACA34F3-D4C9-DA40-81D5-78287EA05777}">
      <dgm:prSet/>
      <dgm:spPr/>
      <dgm:t>
        <a:bodyPr/>
        <a:lstStyle/>
        <a:p>
          <a:endParaRPr lang="en-US"/>
        </a:p>
      </dgm:t>
    </dgm:pt>
    <dgm:pt modelId="{2DDF60C5-1306-2D4F-9322-138A566ED4F5}">
      <dgm:prSet phldrT="[Text]" custT="1"/>
      <dgm:spPr/>
      <dgm:t>
        <a:bodyPr/>
        <a:lstStyle/>
        <a:p>
          <a:r>
            <a:rPr lang="en-US" sz="2800" dirty="0" err="1">
              <a:latin typeface="Times New Roman" pitchFamily="18" charset="0"/>
              <a:cs typeface="Times New Roman" pitchFamily="18" charset="0"/>
            </a:rPr>
            <a:t>Lặp</a:t>
          </a:r>
          <a:r>
            <a:rPr lang="en-US" sz="28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latin typeface="Times New Roman" pitchFamily="18" charset="0"/>
              <a:cs typeface="Times New Roman" pitchFamily="18" charset="0"/>
            </a:rPr>
            <a:t>lại</a:t>
          </a:r>
          <a:endParaRPr lang="en-US" sz="2800" dirty="0">
            <a:latin typeface="Times New Roman" pitchFamily="18" charset="0"/>
            <a:cs typeface="Times New Roman" pitchFamily="18" charset="0"/>
          </a:endParaRPr>
        </a:p>
      </dgm:t>
    </dgm:pt>
    <dgm:pt modelId="{D87ED10D-A2D4-BE43-9054-8C1A9BF5DECC}" type="parTrans" cxnId="{51B15AC7-2979-9A4B-9538-453BC3E213EF}">
      <dgm:prSet/>
      <dgm:spPr/>
      <dgm:t>
        <a:bodyPr/>
        <a:lstStyle/>
        <a:p>
          <a:endParaRPr lang="en-GB"/>
        </a:p>
      </dgm:t>
    </dgm:pt>
    <dgm:pt modelId="{608B8B9C-43F0-B241-9BBA-08C518D20007}" type="sibTrans" cxnId="{51B15AC7-2979-9A4B-9538-453BC3E213EF}">
      <dgm:prSet/>
      <dgm:spPr/>
      <dgm:t>
        <a:bodyPr/>
        <a:lstStyle/>
        <a:p>
          <a:endParaRPr lang="en-GB"/>
        </a:p>
      </dgm:t>
    </dgm:pt>
    <dgm:pt modelId="{96FA2A8B-3686-D44C-ADE4-2644050D4F6E}" type="pres">
      <dgm:prSet presAssocID="{3DAF6ADE-2330-2E4F-997F-B3588025C151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35B3976-17DF-4149-AA59-B52B8E187286}" type="pres">
      <dgm:prSet presAssocID="{43ADCB22-C9C3-DC40-A020-FA5C6028688D}" presName="root" presStyleCnt="0"/>
      <dgm:spPr/>
    </dgm:pt>
    <dgm:pt modelId="{063F7C6B-7F72-7642-9B02-1746FEAAE412}" type="pres">
      <dgm:prSet presAssocID="{43ADCB22-C9C3-DC40-A020-FA5C6028688D}" presName="rootComposite" presStyleCnt="0"/>
      <dgm:spPr/>
    </dgm:pt>
    <dgm:pt modelId="{72B1ADA2-DE9F-1B4D-B6A9-DD5684B5514B}" type="pres">
      <dgm:prSet presAssocID="{43ADCB22-C9C3-DC40-A020-FA5C6028688D}" presName="rootText" presStyleLbl="node1" presStyleIdx="0" presStyleCnt="2" custScaleX="275389" custLinFactNeighborY="14519"/>
      <dgm:spPr/>
    </dgm:pt>
    <dgm:pt modelId="{11B9AF12-F6D8-C046-8349-0EFED0EBBBE2}" type="pres">
      <dgm:prSet presAssocID="{43ADCB22-C9C3-DC40-A020-FA5C6028688D}" presName="rootConnector" presStyleLbl="node1" presStyleIdx="0" presStyleCnt="2"/>
      <dgm:spPr/>
    </dgm:pt>
    <dgm:pt modelId="{6E68681B-9760-EE45-9EF9-EA0D5529F894}" type="pres">
      <dgm:prSet presAssocID="{43ADCB22-C9C3-DC40-A020-FA5C6028688D}" presName="childShape" presStyleCnt="0"/>
      <dgm:spPr/>
    </dgm:pt>
    <dgm:pt modelId="{41610C58-13E3-1649-ADD4-763D3A673CB8}" type="pres">
      <dgm:prSet presAssocID="{7E44144E-1813-A84C-8627-A1958BFF3EC9}" presName="Name13" presStyleLbl="parChTrans1D2" presStyleIdx="0" presStyleCnt="8"/>
      <dgm:spPr/>
    </dgm:pt>
    <dgm:pt modelId="{79657768-A86E-9349-8697-7D9407483549}" type="pres">
      <dgm:prSet presAssocID="{C9C55F1A-4622-9347-906E-FE57CB94030A}" presName="childText" presStyleLbl="bgAcc1" presStyleIdx="0" presStyleCnt="8" custScaleX="146816">
        <dgm:presLayoutVars>
          <dgm:bulletEnabled val="1"/>
        </dgm:presLayoutVars>
      </dgm:prSet>
      <dgm:spPr/>
    </dgm:pt>
    <dgm:pt modelId="{684FC0AB-70DB-9D4A-BFB8-99E388076DCB}" type="pres">
      <dgm:prSet presAssocID="{521D5536-B633-EC49-8422-7F7E3C029488}" presName="Name13" presStyleLbl="parChTrans1D2" presStyleIdx="1" presStyleCnt="8"/>
      <dgm:spPr/>
    </dgm:pt>
    <dgm:pt modelId="{64E12AB9-3B06-6344-B53C-69A608727D0F}" type="pres">
      <dgm:prSet presAssocID="{4E0DA8A7-0F9D-244E-B13A-E5356C7B1E13}" presName="childText" presStyleLbl="bgAcc1" presStyleIdx="1" presStyleCnt="8">
        <dgm:presLayoutVars>
          <dgm:bulletEnabled val="1"/>
        </dgm:presLayoutVars>
      </dgm:prSet>
      <dgm:spPr/>
    </dgm:pt>
    <dgm:pt modelId="{CEC1EB22-082E-8147-BD08-3265355CB90B}" type="pres">
      <dgm:prSet presAssocID="{182979B8-0AA5-FC43-8471-485A725303A7}" presName="Name13" presStyleLbl="parChTrans1D2" presStyleIdx="2" presStyleCnt="8"/>
      <dgm:spPr/>
    </dgm:pt>
    <dgm:pt modelId="{6B0C755F-A00B-9346-AE7B-6EC576FED9AA}" type="pres">
      <dgm:prSet presAssocID="{F03EA1F9-6E10-B947-9D79-086ABC45D068}" presName="childText" presStyleLbl="bgAcc1" presStyleIdx="2" presStyleCnt="8">
        <dgm:presLayoutVars>
          <dgm:bulletEnabled val="1"/>
        </dgm:presLayoutVars>
      </dgm:prSet>
      <dgm:spPr/>
    </dgm:pt>
    <dgm:pt modelId="{D1C11FDC-0A29-7D4F-AB22-C2DFAEA6985B}" type="pres">
      <dgm:prSet presAssocID="{D87ED10D-A2D4-BE43-9054-8C1A9BF5DECC}" presName="Name13" presStyleLbl="parChTrans1D2" presStyleIdx="3" presStyleCnt="8"/>
      <dgm:spPr/>
    </dgm:pt>
    <dgm:pt modelId="{98B927F4-B599-6949-8A31-39754CDF03F4}" type="pres">
      <dgm:prSet presAssocID="{2DDF60C5-1306-2D4F-9322-138A566ED4F5}" presName="childText" presStyleLbl="bgAcc1" presStyleIdx="3" presStyleCnt="8" custScaleX="139301">
        <dgm:presLayoutVars>
          <dgm:bulletEnabled val="1"/>
        </dgm:presLayoutVars>
      </dgm:prSet>
      <dgm:spPr/>
    </dgm:pt>
    <dgm:pt modelId="{5EF77DA8-0F16-D945-8741-665DFB7DDBF4}" type="pres">
      <dgm:prSet presAssocID="{B3E41CC2-2B38-6646-B599-3898C409BB0C}" presName="root" presStyleCnt="0"/>
      <dgm:spPr/>
    </dgm:pt>
    <dgm:pt modelId="{5E070274-6B23-E344-80B7-8EE9B2D35DD8}" type="pres">
      <dgm:prSet presAssocID="{B3E41CC2-2B38-6646-B599-3898C409BB0C}" presName="rootComposite" presStyleCnt="0"/>
      <dgm:spPr/>
    </dgm:pt>
    <dgm:pt modelId="{F080E198-D1AE-3041-8A3E-34B305A1FF8D}" type="pres">
      <dgm:prSet presAssocID="{B3E41CC2-2B38-6646-B599-3898C409BB0C}" presName="rootText" presStyleLbl="node1" presStyleIdx="1" presStyleCnt="2" custScaleX="335127" custLinFactNeighborX="37372" custLinFactNeighborY="12683"/>
      <dgm:spPr/>
    </dgm:pt>
    <dgm:pt modelId="{51D70236-AD37-FA46-B093-69E30E20F930}" type="pres">
      <dgm:prSet presAssocID="{B3E41CC2-2B38-6646-B599-3898C409BB0C}" presName="rootConnector" presStyleLbl="node1" presStyleIdx="1" presStyleCnt="2"/>
      <dgm:spPr/>
    </dgm:pt>
    <dgm:pt modelId="{E0C48CEC-547A-8647-88EF-96F81E482BE5}" type="pres">
      <dgm:prSet presAssocID="{B3E41CC2-2B38-6646-B599-3898C409BB0C}" presName="childShape" presStyleCnt="0"/>
      <dgm:spPr/>
    </dgm:pt>
    <dgm:pt modelId="{920887B5-2AED-744B-A684-77ADC6AAC91A}" type="pres">
      <dgm:prSet presAssocID="{BDD46504-E7FD-F14D-B711-AD2A13384D1D}" presName="Name13" presStyleLbl="parChTrans1D2" presStyleIdx="4" presStyleCnt="8"/>
      <dgm:spPr/>
    </dgm:pt>
    <dgm:pt modelId="{5D4852DA-42D9-324A-9243-C4A70926C0A3}" type="pres">
      <dgm:prSet presAssocID="{F47C484C-E2AA-EE4A-AD22-8991432E9BC1}" presName="childText" presStyleLbl="bgAcc1" presStyleIdx="4" presStyleCnt="8" custScaleX="168166" custLinFactNeighborX="65033" custLinFactNeighborY="-1426">
        <dgm:presLayoutVars>
          <dgm:bulletEnabled val="1"/>
        </dgm:presLayoutVars>
      </dgm:prSet>
      <dgm:spPr/>
    </dgm:pt>
    <dgm:pt modelId="{3EFB242E-A78A-2F4A-A283-46FB88477260}" type="pres">
      <dgm:prSet presAssocID="{2BA1609E-3A53-C14F-A294-A71F4401E5C7}" presName="Name13" presStyleLbl="parChTrans1D2" presStyleIdx="5" presStyleCnt="8"/>
      <dgm:spPr/>
    </dgm:pt>
    <dgm:pt modelId="{0B7BF3E6-E5F4-8C48-A452-7D964276D34B}" type="pres">
      <dgm:prSet presAssocID="{044DC92E-0571-2741-9FDB-D46E70B78EC0}" presName="childText" presStyleLbl="bgAcc1" presStyleIdx="5" presStyleCnt="8" custScaleX="137259" custLinFactNeighborX="95322" custLinFactNeighborY="-1426">
        <dgm:presLayoutVars>
          <dgm:bulletEnabled val="1"/>
        </dgm:presLayoutVars>
      </dgm:prSet>
      <dgm:spPr/>
    </dgm:pt>
    <dgm:pt modelId="{477EAA64-9FD7-5443-BB66-242852FDD742}" type="pres">
      <dgm:prSet presAssocID="{C9191AA9-37D4-1447-92E9-7750AC5C06E3}" presName="Name13" presStyleLbl="parChTrans1D2" presStyleIdx="6" presStyleCnt="8"/>
      <dgm:spPr/>
    </dgm:pt>
    <dgm:pt modelId="{732E2542-6918-0A49-860C-3425D2131E06}" type="pres">
      <dgm:prSet presAssocID="{288E6174-11DC-ED44-960E-83B04C8D0DE8}" presName="childText" presStyleLbl="bgAcc1" presStyleIdx="6" presStyleCnt="8" custScaleX="261190" custLinFactNeighborX="64142" custLinFactNeighborY="-5702">
        <dgm:presLayoutVars>
          <dgm:bulletEnabled val="1"/>
        </dgm:presLayoutVars>
      </dgm:prSet>
      <dgm:spPr/>
    </dgm:pt>
    <dgm:pt modelId="{62AFD5D4-2409-134C-B1CA-21C6DF6265BC}" type="pres">
      <dgm:prSet presAssocID="{50C36C63-2DCA-5942-8D2A-F8433714D4C3}" presName="Name13" presStyleLbl="parChTrans1D2" presStyleIdx="7" presStyleCnt="8"/>
      <dgm:spPr/>
    </dgm:pt>
    <dgm:pt modelId="{13B6F471-EDF7-D544-8961-46F7105D2035}" type="pres">
      <dgm:prSet presAssocID="{7E9B27EC-3947-F841-8929-F3575A5146F1}" presName="childText" presStyleLbl="bgAcc1" presStyleIdx="7" presStyleCnt="8" custScaleX="373371" custScaleY="152491" custLinFactNeighborX="47288" custLinFactNeighborY="11404">
        <dgm:presLayoutVars>
          <dgm:bulletEnabled val="1"/>
        </dgm:presLayoutVars>
      </dgm:prSet>
      <dgm:spPr/>
    </dgm:pt>
  </dgm:ptLst>
  <dgm:cxnLst>
    <dgm:cxn modelId="{A13B0101-4899-1C46-9562-5EEFA503C9E8}" type="presOf" srcId="{50C36C63-2DCA-5942-8D2A-F8433714D4C3}" destId="{62AFD5D4-2409-134C-B1CA-21C6DF6265BC}" srcOrd="0" destOrd="0" presId="urn:microsoft.com/office/officeart/2005/8/layout/hierarchy3"/>
    <dgm:cxn modelId="{CA62190A-820B-7248-A810-AF72362E5F95}" srcId="{43ADCB22-C9C3-DC40-A020-FA5C6028688D}" destId="{4E0DA8A7-0F9D-244E-B13A-E5356C7B1E13}" srcOrd="1" destOrd="0" parTransId="{521D5536-B633-EC49-8422-7F7E3C029488}" sibTransId="{4F961E2D-DAFF-114B-AA20-3FF985CDFD3B}"/>
    <dgm:cxn modelId="{A569AB18-B6AF-8648-B68E-7B4C26B2F811}" type="presOf" srcId="{B3E41CC2-2B38-6646-B599-3898C409BB0C}" destId="{51D70236-AD37-FA46-B093-69E30E20F930}" srcOrd="1" destOrd="0" presId="urn:microsoft.com/office/officeart/2005/8/layout/hierarchy3"/>
    <dgm:cxn modelId="{3F09D424-6970-7941-A85B-C92D80862DC5}" srcId="{B3E41CC2-2B38-6646-B599-3898C409BB0C}" destId="{288E6174-11DC-ED44-960E-83B04C8D0DE8}" srcOrd="2" destOrd="0" parTransId="{C9191AA9-37D4-1447-92E9-7750AC5C06E3}" sibTransId="{F839EDD7-CCEF-EC46-BA59-CE41347AAD1A}"/>
    <dgm:cxn modelId="{0CC97431-EC11-6D43-95F4-F1C4C665F2F2}" type="presOf" srcId="{C9191AA9-37D4-1447-92E9-7750AC5C06E3}" destId="{477EAA64-9FD7-5443-BB66-242852FDD742}" srcOrd="0" destOrd="0" presId="urn:microsoft.com/office/officeart/2005/8/layout/hierarchy3"/>
    <dgm:cxn modelId="{99098235-12CF-F44A-AF6A-5DE360C15F64}" srcId="{3DAF6ADE-2330-2E4F-997F-B3588025C151}" destId="{43ADCB22-C9C3-DC40-A020-FA5C6028688D}" srcOrd="0" destOrd="0" parTransId="{10FF0B38-6803-A245-8EA1-352431D16CB3}" sibTransId="{9F6EFBA6-4F8E-C94E-8790-AADA23ABB3E8}"/>
    <dgm:cxn modelId="{77AD0F39-2649-E443-A35F-5E661E909C11}" srcId="{43ADCB22-C9C3-DC40-A020-FA5C6028688D}" destId="{C9C55F1A-4622-9347-906E-FE57CB94030A}" srcOrd="0" destOrd="0" parTransId="{7E44144E-1813-A84C-8627-A1958BFF3EC9}" sibTransId="{09BC2BEF-03FD-034E-850C-CB4A930FD686}"/>
    <dgm:cxn modelId="{DFE48139-1128-D14D-AC2A-82280C658400}" srcId="{3DAF6ADE-2330-2E4F-997F-B3588025C151}" destId="{B3E41CC2-2B38-6646-B599-3898C409BB0C}" srcOrd="1" destOrd="0" parTransId="{773D6A05-6DDA-4244-988B-CD126FD67399}" sibTransId="{3445E07C-59C4-3549-A38D-B9598E8F8887}"/>
    <dgm:cxn modelId="{BA84975F-36CF-F14E-ABCA-8DD87D30A472}" type="presOf" srcId="{7E9B27EC-3947-F841-8929-F3575A5146F1}" destId="{13B6F471-EDF7-D544-8961-46F7105D2035}" srcOrd="0" destOrd="0" presId="urn:microsoft.com/office/officeart/2005/8/layout/hierarchy3"/>
    <dgm:cxn modelId="{B6D63944-BAF8-7548-BA65-9F478903AF01}" srcId="{43ADCB22-C9C3-DC40-A020-FA5C6028688D}" destId="{F03EA1F9-6E10-B947-9D79-086ABC45D068}" srcOrd="2" destOrd="0" parTransId="{182979B8-0AA5-FC43-8471-485A725303A7}" sibTransId="{1123BBB6-0663-524E-B541-C9CBA8BD8AFE}"/>
    <dgm:cxn modelId="{80793467-D8FC-5649-9F1B-42C06ECBF1CA}" type="presOf" srcId="{43ADCB22-C9C3-DC40-A020-FA5C6028688D}" destId="{72B1ADA2-DE9F-1B4D-B6A9-DD5684B5514B}" srcOrd="0" destOrd="0" presId="urn:microsoft.com/office/officeart/2005/8/layout/hierarchy3"/>
    <dgm:cxn modelId="{0750846A-28F7-4546-BDE7-7658608DBFFB}" type="presOf" srcId="{43ADCB22-C9C3-DC40-A020-FA5C6028688D}" destId="{11B9AF12-F6D8-C046-8349-0EFED0EBBBE2}" srcOrd="1" destOrd="0" presId="urn:microsoft.com/office/officeart/2005/8/layout/hierarchy3"/>
    <dgm:cxn modelId="{83BD794B-BEDC-EE4B-9C93-693E6E6AF70C}" type="presOf" srcId="{2BA1609E-3A53-C14F-A294-A71F4401E5C7}" destId="{3EFB242E-A78A-2F4A-A283-46FB88477260}" srcOrd="0" destOrd="0" presId="urn:microsoft.com/office/officeart/2005/8/layout/hierarchy3"/>
    <dgm:cxn modelId="{26FC294C-D9D0-9F4B-A6D8-992CFD017AB1}" type="presOf" srcId="{F03EA1F9-6E10-B947-9D79-086ABC45D068}" destId="{6B0C755F-A00B-9346-AE7B-6EC576FED9AA}" srcOrd="0" destOrd="0" presId="urn:microsoft.com/office/officeart/2005/8/layout/hierarchy3"/>
    <dgm:cxn modelId="{226DA84E-AD03-C845-955D-B9F41E3AE417}" type="presOf" srcId="{C9C55F1A-4622-9347-906E-FE57CB94030A}" destId="{79657768-A86E-9349-8697-7D9407483549}" srcOrd="0" destOrd="0" presId="urn:microsoft.com/office/officeart/2005/8/layout/hierarchy3"/>
    <dgm:cxn modelId="{8F025C88-F054-DB43-9E6D-B4872A6950FD}" type="presOf" srcId="{B3E41CC2-2B38-6646-B599-3898C409BB0C}" destId="{F080E198-D1AE-3041-8A3E-34B305A1FF8D}" srcOrd="0" destOrd="0" presId="urn:microsoft.com/office/officeart/2005/8/layout/hierarchy3"/>
    <dgm:cxn modelId="{9FB8508B-E211-E34F-A73E-135B2AB56439}" srcId="{B3E41CC2-2B38-6646-B599-3898C409BB0C}" destId="{044DC92E-0571-2741-9FDB-D46E70B78EC0}" srcOrd="1" destOrd="0" parTransId="{2BA1609E-3A53-C14F-A294-A71F4401E5C7}" sibTransId="{1310F58C-4278-DA48-979B-93BEA2202935}"/>
    <dgm:cxn modelId="{3A3C989F-C66B-3644-AB86-77E0F64A15C9}" type="presOf" srcId="{2DDF60C5-1306-2D4F-9322-138A566ED4F5}" destId="{98B927F4-B599-6949-8A31-39754CDF03F4}" srcOrd="0" destOrd="0" presId="urn:microsoft.com/office/officeart/2005/8/layout/hierarchy3"/>
    <dgm:cxn modelId="{C76FFBBD-765D-AF48-BE0B-9BB6735F44FD}" type="presOf" srcId="{182979B8-0AA5-FC43-8471-485A725303A7}" destId="{CEC1EB22-082E-8147-BD08-3265355CB90B}" srcOrd="0" destOrd="0" presId="urn:microsoft.com/office/officeart/2005/8/layout/hierarchy3"/>
    <dgm:cxn modelId="{51B15AC7-2979-9A4B-9538-453BC3E213EF}" srcId="{43ADCB22-C9C3-DC40-A020-FA5C6028688D}" destId="{2DDF60C5-1306-2D4F-9322-138A566ED4F5}" srcOrd="3" destOrd="0" parTransId="{D87ED10D-A2D4-BE43-9054-8C1A9BF5DECC}" sibTransId="{608B8B9C-43F0-B241-9BBA-08C518D20007}"/>
    <dgm:cxn modelId="{5B3E93CC-D44F-3248-AD24-B5F7395A2E5D}" type="presOf" srcId="{BDD46504-E7FD-F14D-B711-AD2A13384D1D}" destId="{920887B5-2AED-744B-A684-77ADC6AAC91A}" srcOrd="0" destOrd="0" presId="urn:microsoft.com/office/officeart/2005/8/layout/hierarchy3"/>
    <dgm:cxn modelId="{4E0657D0-F977-F54C-872F-9CA5C3843AF6}" type="presOf" srcId="{D87ED10D-A2D4-BE43-9054-8C1A9BF5DECC}" destId="{D1C11FDC-0A29-7D4F-AB22-C2DFAEA6985B}" srcOrd="0" destOrd="0" presId="urn:microsoft.com/office/officeart/2005/8/layout/hierarchy3"/>
    <dgm:cxn modelId="{F116E6D2-2216-7340-9FB3-2E5BF686E7B3}" type="presOf" srcId="{7E44144E-1813-A84C-8627-A1958BFF3EC9}" destId="{41610C58-13E3-1649-ADD4-763D3A673CB8}" srcOrd="0" destOrd="0" presId="urn:microsoft.com/office/officeart/2005/8/layout/hierarchy3"/>
    <dgm:cxn modelId="{55D2D9D3-939C-1240-B2F8-5CAF1C0E1AEA}" srcId="{B3E41CC2-2B38-6646-B599-3898C409BB0C}" destId="{F47C484C-E2AA-EE4A-AD22-8991432E9BC1}" srcOrd="0" destOrd="0" parTransId="{BDD46504-E7FD-F14D-B711-AD2A13384D1D}" sibTransId="{ECC7573C-8AA2-8D4A-A8AC-CB342D3B4EF1}"/>
    <dgm:cxn modelId="{E491B2E5-4168-814F-9F7F-87CDF30A7A70}" type="presOf" srcId="{521D5536-B633-EC49-8422-7F7E3C029488}" destId="{684FC0AB-70DB-9D4A-BFB8-99E388076DCB}" srcOrd="0" destOrd="0" presId="urn:microsoft.com/office/officeart/2005/8/layout/hierarchy3"/>
    <dgm:cxn modelId="{D0F727EC-6277-D846-A863-C7A7F612ACB4}" type="presOf" srcId="{3DAF6ADE-2330-2E4F-997F-B3588025C151}" destId="{96FA2A8B-3686-D44C-ADE4-2644050D4F6E}" srcOrd="0" destOrd="0" presId="urn:microsoft.com/office/officeart/2005/8/layout/hierarchy3"/>
    <dgm:cxn modelId="{ACA539EC-E858-C742-9585-9625F545AAF2}" type="presOf" srcId="{4E0DA8A7-0F9D-244E-B13A-E5356C7B1E13}" destId="{64E12AB9-3B06-6344-B53C-69A608727D0F}" srcOrd="0" destOrd="0" presId="urn:microsoft.com/office/officeart/2005/8/layout/hierarchy3"/>
    <dgm:cxn modelId="{9DBD3FED-EC3D-954C-A093-AFCFA96B1E29}" type="presOf" srcId="{F47C484C-E2AA-EE4A-AD22-8991432E9BC1}" destId="{5D4852DA-42D9-324A-9243-C4A70926C0A3}" srcOrd="0" destOrd="0" presId="urn:microsoft.com/office/officeart/2005/8/layout/hierarchy3"/>
    <dgm:cxn modelId="{0ACA34F3-D4C9-DA40-81D5-78287EA05777}" srcId="{B3E41CC2-2B38-6646-B599-3898C409BB0C}" destId="{7E9B27EC-3947-F841-8929-F3575A5146F1}" srcOrd="3" destOrd="0" parTransId="{50C36C63-2DCA-5942-8D2A-F8433714D4C3}" sibTransId="{BD133204-4524-1A43-9DEC-509115555D60}"/>
    <dgm:cxn modelId="{15C37BFC-6BD4-D84A-9B4B-4C31ED2F2B2F}" type="presOf" srcId="{044DC92E-0571-2741-9FDB-D46E70B78EC0}" destId="{0B7BF3E6-E5F4-8C48-A452-7D964276D34B}" srcOrd="0" destOrd="0" presId="urn:microsoft.com/office/officeart/2005/8/layout/hierarchy3"/>
    <dgm:cxn modelId="{08A37AFE-DF51-A746-80C5-456AF61E8C0C}" type="presOf" srcId="{288E6174-11DC-ED44-960E-83B04C8D0DE8}" destId="{732E2542-6918-0A49-860C-3425D2131E06}" srcOrd="0" destOrd="0" presId="urn:microsoft.com/office/officeart/2005/8/layout/hierarchy3"/>
    <dgm:cxn modelId="{6C5F9902-FE2A-234F-83E7-A2EF3F17A252}" type="presParOf" srcId="{96FA2A8B-3686-D44C-ADE4-2644050D4F6E}" destId="{F35B3976-17DF-4149-AA59-B52B8E187286}" srcOrd="0" destOrd="0" presId="urn:microsoft.com/office/officeart/2005/8/layout/hierarchy3"/>
    <dgm:cxn modelId="{DE0B7534-6358-8F48-BD7B-3A94FD580517}" type="presParOf" srcId="{F35B3976-17DF-4149-AA59-B52B8E187286}" destId="{063F7C6B-7F72-7642-9B02-1746FEAAE412}" srcOrd="0" destOrd="0" presId="urn:microsoft.com/office/officeart/2005/8/layout/hierarchy3"/>
    <dgm:cxn modelId="{2511F1CC-9A2E-854D-A6DD-5E03DCCC4BCD}" type="presParOf" srcId="{063F7C6B-7F72-7642-9B02-1746FEAAE412}" destId="{72B1ADA2-DE9F-1B4D-B6A9-DD5684B5514B}" srcOrd="0" destOrd="0" presId="urn:microsoft.com/office/officeart/2005/8/layout/hierarchy3"/>
    <dgm:cxn modelId="{13BA287D-3736-F34E-8C06-4F7F44371B6C}" type="presParOf" srcId="{063F7C6B-7F72-7642-9B02-1746FEAAE412}" destId="{11B9AF12-F6D8-C046-8349-0EFED0EBBBE2}" srcOrd="1" destOrd="0" presId="urn:microsoft.com/office/officeart/2005/8/layout/hierarchy3"/>
    <dgm:cxn modelId="{8C278000-69A2-8D41-8647-9BA9E9A6766E}" type="presParOf" srcId="{F35B3976-17DF-4149-AA59-B52B8E187286}" destId="{6E68681B-9760-EE45-9EF9-EA0D5529F894}" srcOrd="1" destOrd="0" presId="urn:microsoft.com/office/officeart/2005/8/layout/hierarchy3"/>
    <dgm:cxn modelId="{E70FE23A-E63F-D445-A0F3-3EF37F2EB95A}" type="presParOf" srcId="{6E68681B-9760-EE45-9EF9-EA0D5529F894}" destId="{41610C58-13E3-1649-ADD4-763D3A673CB8}" srcOrd="0" destOrd="0" presId="urn:microsoft.com/office/officeart/2005/8/layout/hierarchy3"/>
    <dgm:cxn modelId="{F70D5A47-30BD-DA43-A108-3B18493100A9}" type="presParOf" srcId="{6E68681B-9760-EE45-9EF9-EA0D5529F894}" destId="{79657768-A86E-9349-8697-7D9407483549}" srcOrd="1" destOrd="0" presId="urn:microsoft.com/office/officeart/2005/8/layout/hierarchy3"/>
    <dgm:cxn modelId="{A2DA81A7-C834-E149-80B0-690C3DD341E0}" type="presParOf" srcId="{6E68681B-9760-EE45-9EF9-EA0D5529F894}" destId="{684FC0AB-70DB-9D4A-BFB8-99E388076DCB}" srcOrd="2" destOrd="0" presId="urn:microsoft.com/office/officeart/2005/8/layout/hierarchy3"/>
    <dgm:cxn modelId="{68ADE321-5917-5D45-87F1-141E8C44B5FA}" type="presParOf" srcId="{6E68681B-9760-EE45-9EF9-EA0D5529F894}" destId="{64E12AB9-3B06-6344-B53C-69A608727D0F}" srcOrd="3" destOrd="0" presId="urn:microsoft.com/office/officeart/2005/8/layout/hierarchy3"/>
    <dgm:cxn modelId="{85BFCB2E-BCD8-1A4A-AA3A-9A41A17649EF}" type="presParOf" srcId="{6E68681B-9760-EE45-9EF9-EA0D5529F894}" destId="{CEC1EB22-082E-8147-BD08-3265355CB90B}" srcOrd="4" destOrd="0" presId="urn:microsoft.com/office/officeart/2005/8/layout/hierarchy3"/>
    <dgm:cxn modelId="{EDE8D5F5-99FE-BC4F-9E02-2792F4D445A2}" type="presParOf" srcId="{6E68681B-9760-EE45-9EF9-EA0D5529F894}" destId="{6B0C755F-A00B-9346-AE7B-6EC576FED9AA}" srcOrd="5" destOrd="0" presId="urn:microsoft.com/office/officeart/2005/8/layout/hierarchy3"/>
    <dgm:cxn modelId="{1339A1DC-A9FE-C94A-B3B8-440CD0026055}" type="presParOf" srcId="{6E68681B-9760-EE45-9EF9-EA0D5529F894}" destId="{D1C11FDC-0A29-7D4F-AB22-C2DFAEA6985B}" srcOrd="6" destOrd="0" presId="urn:microsoft.com/office/officeart/2005/8/layout/hierarchy3"/>
    <dgm:cxn modelId="{92B21C54-5DAD-274A-AFFC-A7AC78B8A1DF}" type="presParOf" srcId="{6E68681B-9760-EE45-9EF9-EA0D5529F894}" destId="{98B927F4-B599-6949-8A31-39754CDF03F4}" srcOrd="7" destOrd="0" presId="urn:microsoft.com/office/officeart/2005/8/layout/hierarchy3"/>
    <dgm:cxn modelId="{653B4EE9-A00C-F34B-A326-C4929D96774C}" type="presParOf" srcId="{96FA2A8B-3686-D44C-ADE4-2644050D4F6E}" destId="{5EF77DA8-0F16-D945-8741-665DFB7DDBF4}" srcOrd="1" destOrd="0" presId="urn:microsoft.com/office/officeart/2005/8/layout/hierarchy3"/>
    <dgm:cxn modelId="{41D2F01C-2BCF-A544-BFFC-0FA4F28CDE57}" type="presParOf" srcId="{5EF77DA8-0F16-D945-8741-665DFB7DDBF4}" destId="{5E070274-6B23-E344-80B7-8EE9B2D35DD8}" srcOrd="0" destOrd="0" presId="urn:microsoft.com/office/officeart/2005/8/layout/hierarchy3"/>
    <dgm:cxn modelId="{54B1039F-D4B3-484E-B7B5-71E947729DFA}" type="presParOf" srcId="{5E070274-6B23-E344-80B7-8EE9B2D35DD8}" destId="{F080E198-D1AE-3041-8A3E-34B305A1FF8D}" srcOrd="0" destOrd="0" presId="urn:microsoft.com/office/officeart/2005/8/layout/hierarchy3"/>
    <dgm:cxn modelId="{469889C6-E209-3341-AB3A-20450B5B5D52}" type="presParOf" srcId="{5E070274-6B23-E344-80B7-8EE9B2D35DD8}" destId="{51D70236-AD37-FA46-B093-69E30E20F930}" srcOrd="1" destOrd="0" presId="urn:microsoft.com/office/officeart/2005/8/layout/hierarchy3"/>
    <dgm:cxn modelId="{1D4FB41C-16FC-C741-83C2-9D800EE8D2F5}" type="presParOf" srcId="{5EF77DA8-0F16-D945-8741-665DFB7DDBF4}" destId="{E0C48CEC-547A-8647-88EF-96F81E482BE5}" srcOrd="1" destOrd="0" presId="urn:microsoft.com/office/officeart/2005/8/layout/hierarchy3"/>
    <dgm:cxn modelId="{CCD93596-326D-9A49-BA00-EDA657352DAD}" type="presParOf" srcId="{E0C48CEC-547A-8647-88EF-96F81E482BE5}" destId="{920887B5-2AED-744B-A684-77ADC6AAC91A}" srcOrd="0" destOrd="0" presId="urn:microsoft.com/office/officeart/2005/8/layout/hierarchy3"/>
    <dgm:cxn modelId="{765150E7-124E-814D-9958-0195F6EEA4A6}" type="presParOf" srcId="{E0C48CEC-547A-8647-88EF-96F81E482BE5}" destId="{5D4852DA-42D9-324A-9243-C4A70926C0A3}" srcOrd="1" destOrd="0" presId="urn:microsoft.com/office/officeart/2005/8/layout/hierarchy3"/>
    <dgm:cxn modelId="{72BF07E3-83EF-694B-95B8-AE17D8ACD4A5}" type="presParOf" srcId="{E0C48CEC-547A-8647-88EF-96F81E482BE5}" destId="{3EFB242E-A78A-2F4A-A283-46FB88477260}" srcOrd="2" destOrd="0" presId="urn:microsoft.com/office/officeart/2005/8/layout/hierarchy3"/>
    <dgm:cxn modelId="{F8FA2623-1E9B-AA46-9BB5-10865340EBA2}" type="presParOf" srcId="{E0C48CEC-547A-8647-88EF-96F81E482BE5}" destId="{0B7BF3E6-E5F4-8C48-A452-7D964276D34B}" srcOrd="3" destOrd="0" presId="urn:microsoft.com/office/officeart/2005/8/layout/hierarchy3"/>
    <dgm:cxn modelId="{C6462C6A-9C5C-3A4C-92D2-358493536443}" type="presParOf" srcId="{E0C48CEC-547A-8647-88EF-96F81E482BE5}" destId="{477EAA64-9FD7-5443-BB66-242852FDD742}" srcOrd="4" destOrd="0" presId="urn:microsoft.com/office/officeart/2005/8/layout/hierarchy3"/>
    <dgm:cxn modelId="{FA84416A-FC2E-F748-9F5F-A3853C32824E}" type="presParOf" srcId="{E0C48CEC-547A-8647-88EF-96F81E482BE5}" destId="{732E2542-6918-0A49-860C-3425D2131E06}" srcOrd="5" destOrd="0" presId="urn:microsoft.com/office/officeart/2005/8/layout/hierarchy3"/>
    <dgm:cxn modelId="{F42F8773-1510-5A4D-AA70-B941DB226900}" type="presParOf" srcId="{E0C48CEC-547A-8647-88EF-96F81E482BE5}" destId="{62AFD5D4-2409-134C-B1CA-21C6DF6265BC}" srcOrd="6" destOrd="0" presId="urn:microsoft.com/office/officeart/2005/8/layout/hierarchy3"/>
    <dgm:cxn modelId="{CE8CE494-FB62-124F-8501-91B55CDBDEB6}" type="presParOf" srcId="{E0C48CEC-547A-8647-88EF-96F81E482BE5}" destId="{13B6F471-EDF7-D544-8961-46F7105D2035}" srcOrd="7" destOrd="0" presId="urn:microsoft.com/office/officeart/2005/8/layout/hierarchy3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B3B8D1A0-C7D8-1346-B795-30A944E70BED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36053086-E64C-4440-A6CC-BBDC2AA0712A}" type="pres">
      <dgm:prSet presAssocID="{B3B8D1A0-C7D8-1346-B795-30A944E70BED}" presName="matrix" presStyleCnt="0">
        <dgm:presLayoutVars>
          <dgm:chMax val="1"/>
          <dgm:dir/>
          <dgm:resizeHandles val="exact"/>
        </dgm:presLayoutVars>
      </dgm:prSet>
      <dgm:spPr/>
    </dgm:pt>
  </dgm:ptLst>
  <dgm:cxnLst>
    <dgm:cxn modelId="{77B2D1E6-AF37-5F43-9FA5-E07F74E594BC}" type="presOf" srcId="{B3B8D1A0-C7D8-1346-B795-30A944E70BED}" destId="{36053086-E64C-4440-A6CC-BBDC2AA0712A}" srcOrd="0" destOrd="0" presId="urn:microsoft.com/office/officeart/2005/8/layout/matrix3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C4055E76-D772-9542-B159-0C2B8569BDB3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36D30045-AEDB-9A4B-98C5-F3F50E4302BA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IỆN TẠI	</a:t>
          </a: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ự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ế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ậ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ả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ự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ảy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ê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í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ế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ầ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í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ế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ươ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ừ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ố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ì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ả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â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é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Ý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hĩ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ứ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ồ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ứ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yê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ươ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ứ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mong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ợ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ứ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iế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ự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ệ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â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ứ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yề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ă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ai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úp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ỡ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ẽ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ị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ấ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á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endParaRPr lang="en-GB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endParaRPr lang="en-GB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524C042B-B5F8-A348-BC60-EF8C712771B0}" type="parTrans" cxnId="{6AA3955E-1B50-E341-96B2-85512BA0C33A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00349C19-BA81-4544-A239-4E340495A739}" type="sibTrans" cxnId="{6AA3955E-1B50-E341-96B2-85512BA0C33A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25230E20-CA77-0D4A-BBFB-B0EAA7B6016F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ƯƠNG LAI </a:t>
          </a: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ạo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ỏ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ặ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iế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ấy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ì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ả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ố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ai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yê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ươ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ì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ì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ẽ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à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ô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uộ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ố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ai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â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ì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ấ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ại</a:t>
          </a:r>
          <a:endParaRPr lang="en-GB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7A2B5173-8B8E-1045-B6EC-0C956442E28E}" type="parTrans" cxnId="{3E567C69-5A1A-174C-B853-850F0E3231C9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A01DC38F-81A4-AF4E-B467-41A3233714E2}" type="sibTrans" cxnId="{3E567C69-5A1A-174C-B853-850F0E3231C9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5347EA4E-589E-D346-9953-E9ED0DF8300A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ậ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ả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iệ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ạ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ươ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a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ạo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ỏ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ặ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iế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ị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ả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ưở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ứ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ă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:</a:t>
          </a: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iể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ão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ộ</a:t>
          </a:r>
          <a:endParaRPr lang="en-GB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iể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ể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ất</a:t>
          </a:r>
          <a:endParaRPr lang="en-GB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iể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â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ý</a:t>
          </a:r>
          <a:endParaRPr lang="en-GB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iể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úc</a:t>
          </a:r>
          <a:endParaRPr lang="en-GB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iể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ã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ội</a:t>
          </a:r>
          <a:endParaRPr lang="en-GB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iể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ạo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ức</a:t>
          </a:r>
          <a:endParaRPr lang="en-GB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B9867465-E203-4548-A283-F2A2EA9F34CC}" type="parTrans" cxnId="{45AC3304-1968-BF44-AAEC-D3829678CD38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44001AB6-5231-D246-BE2B-C57F4178D5C9}" type="sibTrans" cxnId="{45AC3304-1968-BF44-AAEC-D3829678CD38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7D7C67B8-7130-0E4D-B854-D807D14071B2}" type="pres">
      <dgm:prSet presAssocID="{C4055E76-D772-9542-B159-0C2B8569BDB3}" presName="CompostProcess" presStyleCnt="0">
        <dgm:presLayoutVars>
          <dgm:dir/>
          <dgm:resizeHandles val="exact"/>
        </dgm:presLayoutVars>
      </dgm:prSet>
      <dgm:spPr/>
    </dgm:pt>
    <dgm:pt modelId="{599826F3-AE58-BA44-AD47-5394C0CEE369}" type="pres">
      <dgm:prSet presAssocID="{C4055E76-D772-9542-B159-0C2B8569BDB3}" presName="arrow" presStyleLbl="bgShp" presStyleIdx="0" presStyleCnt="1"/>
      <dgm:spPr/>
    </dgm:pt>
    <dgm:pt modelId="{CEBD0C18-922C-ED43-9AE6-0C0111A6E653}" type="pres">
      <dgm:prSet presAssocID="{C4055E76-D772-9542-B159-0C2B8569BDB3}" presName="linearProcess" presStyleCnt="0"/>
      <dgm:spPr/>
    </dgm:pt>
    <dgm:pt modelId="{F6601183-8C2B-D143-910F-E32195704AD6}" type="pres">
      <dgm:prSet presAssocID="{36D30045-AEDB-9A4B-98C5-F3F50E4302BA}" presName="textNode" presStyleLbl="node1" presStyleIdx="0" presStyleCnt="3" custScaleX="112356" custScaleY="231752">
        <dgm:presLayoutVars>
          <dgm:bulletEnabled val="1"/>
        </dgm:presLayoutVars>
      </dgm:prSet>
      <dgm:spPr/>
    </dgm:pt>
    <dgm:pt modelId="{A7D2244D-9B8B-E847-9F9A-423299B882D6}" type="pres">
      <dgm:prSet presAssocID="{00349C19-BA81-4544-A239-4E340495A739}" presName="sibTrans" presStyleCnt="0"/>
      <dgm:spPr/>
    </dgm:pt>
    <dgm:pt modelId="{7B5AF08E-0426-774D-B0DC-90AAE2F1BF5A}" type="pres">
      <dgm:prSet presAssocID="{25230E20-CA77-0D4A-BBFB-B0EAA7B6016F}" presName="textNode" presStyleLbl="node1" presStyleIdx="1" presStyleCnt="3" custScaleY="168492">
        <dgm:presLayoutVars>
          <dgm:bulletEnabled val="1"/>
        </dgm:presLayoutVars>
      </dgm:prSet>
      <dgm:spPr/>
    </dgm:pt>
    <dgm:pt modelId="{53E4070C-D643-934C-AAEB-4F56F3A36B1C}" type="pres">
      <dgm:prSet presAssocID="{A01DC38F-81A4-AF4E-B467-41A3233714E2}" presName="sibTrans" presStyleCnt="0"/>
      <dgm:spPr/>
    </dgm:pt>
    <dgm:pt modelId="{E8D4B037-EB3B-8244-8D6E-D9636B5DE22F}" type="pres">
      <dgm:prSet presAssocID="{5347EA4E-589E-D346-9953-E9ED0DF8300A}" presName="textNode" presStyleLbl="node1" presStyleIdx="2" presStyleCnt="3" custScaleY="218911">
        <dgm:presLayoutVars>
          <dgm:bulletEnabled val="1"/>
        </dgm:presLayoutVars>
      </dgm:prSet>
      <dgm:spPr/>
    </dgm:pt>
  </dgm:ptLst>
  <dgm:cxnLst>
    <dgm:cxn modelId="{45AC3304-1968-BF44-AAEC-D3829678CD38}" srcId="{C4055E76-D772-9542-B159-0C2B8569BDB3}" destId="{5347EA4E-589E-D346-9953-E9ED0DF8300A}" srcOrd="2" destOrd="0" parTransId="{B9867465-E203-4548-A283-F2A2EA9F34CC}" sibTransId="{44001AB6-5231-D246-BE2B-C57F4178D5C9}"/>
    <dgm:cxn modelId="{6AA3955E-1B50-E341-96B2-85512BA0C33A}" srcId="{C4055E76-D772-9542-B159-0C2B8569BDB3}" destId="{36D30045-AEDB-9A4B-98C5-F3F50E4302BA}" srcOrd="0" destOrd="0" parTransId="{524C042B-B5F8-A348-BC60-EF8C712771B0}" sibTransId="{00349C19-BA81-4544-A239-4E340495A739}"/>
    <dgm:cxn modelId="{3E567C69-5A1A-174C-B853-850F0E3231C9}" srcId="{C4055E76-D772-9542-B159-0C2B8569BDB3}" destId="{25230E20-CA77-0D4A-BBFB-B0EAA7B6016F}" srcOrd="1" destOrd="0" parTransId="{7A2B5173-8B8E-1045-B6EC-0C956442E28E}" sibTransId="{A01DC38F-81A4-AF4E-B467-41A3233714E2}"/>
    <dgm:cxn modelId="{13FD007D-D4EE-9344-864F-B5FE466B4F2A}" type="presOf" srcId="{C4055E76-D772-9542-B159-0C2B8569BDB3}" destId="{7D7C67B8-7130-0E4D-B854-D807D14071B2}" srcOrd="0" destOrd="0" presId="urn:microsoft.com/office/officeart/2005/8/layout/hProcess9"/>
    <dgm:cxn modelId="{90DBE17E-7F80-0D40-8300-1BC0F72672D2}" type="presOf" srcId="{5347EA4E-589E-D346-9953-E9ED0DF8300A}" destId="{E8D4B037-EB3B-8244-8D6E-D9636B5DE22F}" srcOrd="0" destOrd="0" presId="urn:microsoft.com/office/officeart/2005/8/layout/hProcess9"/>
    <dgm:cxn modelId="{F78A2684-BE82-4745-955B-C7BC2F1CF746}" type="presOf" srcId="{36D30045-AEDB-9A4B-98C5-F3F50E4302BA}" destId="{F6601183-8C2B-D143-910F-E32195704AD6}" srcOrd="0" destOrd="0" presId="urn:microsoft.com/office/officeart/2005/8/layout/hProcess9"/>
    <dgm:cxn modelId="{279B6DA0-610B-E841-8780-A6B2AE3578AE}" type="presOf" srcId="{25230E20-CA77-0D4A-BBFB-B0EAA7B6016F}" destId="{7B5AF08E-0426-774D-B0DC-90AAE2F1BF5A}" srcOrd="0" destOrd="0" presId="urn:microsoft.com/office/officeart/2005/8/layout/hProcess9"/>
    <dgm:cxn modelId="{CCB6B38B-B241-DB48-991F-E3C10C318656}" type="presParOf" srcId="{7D7C67B8-7130-0E4D-B854-D807D14071B2}" destId="{599826F3-AE58-BA44-AD47-5394C0CEE369}" srcOrd="0" destOrd="0" presId="urn:microsoft.com/office/officeart/2005/8/layout/hProcess9"/>
    <dgm:cxn modelId="{94FA7DA5-5B6C-9844-B0BF-F037A129FAB7}" type="presParOf" srcId="{7D7C67B8-7130-0E4D-B854-D807D14071B2}" destId="{CEBD0C18-922C-ED43-9AE6-0C0111A6E653}" srcOrd="1" destOrd="0" presId="urn:microsoft.com/office/officeart/2005/8/layout/hProcess9"/>
    <dgm:cxn modelId="{7FED7315-3519-7A40-A0B4-29C1822C7B42}" type="presParOf" srcId="{CEBD0C18-922C-ED43-9AE6-0C0111A6E653}" destId="{F6601183-8C2B-D143-910F-E32195704AD6}" srcOrd="0" destOrd="0" presId="urn:microsoft.com/office/officeart/2005/8/layout/hProcess9"/>
    <dgm:cxn modelId="{129997AA-6C80-504C-ACD4-AB52AC609782}" type="presParOf" srcId="{CEBD0C18-922C-ED43-9AE6-0C0111A6E653}" destId="{A7D2244D-9B8B-E847-9F9A-423299B882D6}" srcOrd="1" destOrd="0" presId="urn:microsoft.com/office/officeart/2005/8/layout/hProcess9"/>
    <dgm:cxn modelId="{A144153E-5BFC-D847-806C-C064386BCB47}" type="presParOf" srcId="{CEBD0C18-922C-ED43-9AE6-0C0111A6E653}" destId="{7B5AF08E-0426-774D-B0DC-90AAE2F1BF5A}" srcOrd="2" destOrd="0" presId="urn:microsoft.com/office/officeart/2005/8/layout/hProcess9"/>
    <dgm:cxn modelId="{E773E5D0-7A76-154A-A9D4-9C6DE92EFE59}" type="presParOf" srcId="{CEBD0C18-922C-ED43-9AE6-0C0111A6E653}" destId="{53E4070C-D643-934C-AAEB-4F56F3A36B1C}" srcOrd="3" destOrd="0" presId="urn:microsoft.com/office/officeart/2005/8/layout/hProcess9"/>
    <dgm:cxn modelId="{85B4DA7A-95AE-114D-A060-FD0656E7024E}" type="presParOf" srcId="{CEBD0C18-922C-ED43-9AE6-0C0111A6E653}" destId="{E8D4B037-EB3B-8244-8D6E-D9636B5DE22F}" srcOrd="4" destOrd="0" presId="urn:microsoft.com/office/officeart/2005/8/layout/hProcess9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DB9BE30F-728B-B44C-8D50-2AC7EDA74708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8D77258-C035-2144-A83F-1F0442B7E3FA}">
      <dgm:prSet phldrT="[Text]" custT="1"/>
      <dgm:spPr>
        <a:solidFill>
          <a:srgbClr val="FFC000"/>
        </a:solidFill>
      </dgm:spPr>
      <dgm:t>
        <a:bodyPr/>
        <a:lstStyle/>
        <a:p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1.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ể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ất</a:t>
          </a:r>
          <a:endParaRPr lang="en-GB" sz="28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F5C83798-85C7-AF44-B209-8324FD12E0F4}" type="parTrans" cxnId="{ADF4FE1C-295E-A04B-B1F9-1FF9C61C0F0F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BE578196-C69C-9440-AB9C-6609C634E57B}" type="sibTrans" cxnId="{ADF4FE1C-295E-A04B-B1F9-1FF9C61C0F0F}">
      <dgm:prSet custT="1"/>
      <dgm:spPr/>
      <dgm:t>
        <a:bodyPr/>
        <a:lstStyle/>
        <a:p>
          <a:endParaRPr lang="en-GB" sz="2800" dirty="0">
            <a:solidFill>
              <a:schemeClr val="tx1"/>
            </a:solidFill>
          </a:endParaRPr>
        </a:p>
      </dgm:t>
    </dgm:pt>
    <dgm:pt modelId="{DAB69584-5D62-8343-B68C-728B489283EF}">
      <dgm:prSet phldrT="[Text]" custT="1"/>
      <dgm:spPr>
        <a:solidFill>
          <a:srgbClr val="FFC000"/>
        </a:solidFill>
      </dgm:spPr>
      <dgm:t>
        <a:bodyPr/>
        <a:lstStyle/>
        <a:p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2.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</a:p>
        <a:p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âm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ý</a:t>
          </a:r>
          <a:endParaRPr lang="en-GB" sz="28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1F00C2DB-5D84-574F-920A-235CE834E8E2}" type="parTrans" cxnId="{BAFE0246-ABF1-4246-B6FB-F2577F40494E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BA61B3D3-CA4A-D149-B674-F7233EF54425}" type="sibTrans" cxnId="{BAFE0246-ABF1-4246-B6FB-F2577F40494E}">
      <dgm:prSet custT="1"/>
      <dgm:spPr/>
      <dgm:t>
        <a:bodyPr/>
        <a:lstStyle/>
        <a:p>
          <a:endParaRPr lang="en-GB" sz="2800" dirty="0">
            <a:solidFill>
              <a:schemeClr val="tx1"/>
            </a:solidFill>
          </a:endParaRPr>
        </a:p>
      </dgm:t>
    </dgm:pt>
    <dgm:pt modelId="{DFEDABD3-31EB-D640-8477-3E0BE43AFC33}">
      <dgm:prSet phldrT="[Text]" custT="1"/>
      <dgm:spPr>
        <a:solidFill>
          <a:srgbClr val="FFC000"/>
        </a:solidFill>
      </dgm:spPr>
      <dgm:t>
        <a:bodyPr/>
        <a:lstStyle/>
        <a:p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3.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ình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m</a:t>
          </a:r>
          <a:endParaRPr lang="en-GB" sz="28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EF047686-7931-EA48-88DD-6405EDF220F6}" type="parTrans" cxnId="{D8B1AFC1-83C5-8B43-B991-9ED49CBB6B88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398774B3-6087-1640-8BA3-8B844736ACC0}" type="sibTrans" cxnId="{D8B1AFC1-83C5-8B43-B991-9ED49CBB6B88}">
      <dgm:prSet custT="1"/>
      <dgm:spPr/>
      <dgm:t>
        <a:bodyPr/>
        <a:lstStyle/>
        <a:p>
          <a:endParaRPr lang="en-GB" sz="2800" dirty="0">
            <a:solidFill>
              <a:schemeClr val="tx1"/>
            </a:solidFill>
          </a:endParaRPr>
        </a:p>
      </dgm:t>
    </dgm:pt>
    <dgm:pt modelId="{7ABB8A9F-7324-7840-91AC-9AC14F2CFE69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4.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ình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c</a:t>
          </a:r>
          <a:endParaRPr lang="en-GB" sz="28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CCE84FF9-7E9D-9F45-A0D1-EE4168DF6227}" type="parTrans" cxnId="{B478429A-5543-B142-B9EB-2AA13A4C6006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96BA1768-2C74-D240-9E3B-47353A5F08F4}" type="sibTrans" cxnId="{B478429A-5543-B142-B9EB-2AA13A4C6006}">
      <dgm:prSet custT="1"/>
      <dgm:spPr/>
      <dgm:t>
        <a:bodyPr/>
        <a:lstStyle/>
        <a:p>
          <a:endParaRPr lang="en-GB" sz="2800" dirty="0">
            <a:solidFill>
              <a:schemeClr val="tx1"/>
            </a:solidFill>
          </a:endParaRPr>
        </a:p>
      </dgm:t>
    </dgm:pt>
    <dgm:pt modelId="{5FDD35AC-363C-3B4F-93D2-FBAF2BD127AC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5.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ứng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iến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ạo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ực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ình</a:t>
          </a:r>
          <a:endParaRPr lang="en-GB" sz="28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FC6B259A-5E92-EB4F-B10B-B61CFE1D4B77}" type="parTrans" cxnId="{78D706F1-02BD-834F-9C5B-BEC1A083E065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27A042F9-B61A-ED4E-B5DB-90E988FC4FB5}" type="sibTrans" cxnId="{78D706F1-02BD-834F-9C5B-BEC1A083E065}">
      <dgm:prSet custT="1"/>
      <dgm:spPr/>
      <dgm:t>
        <a:bodyPr/>
        <a:lstStyle/>
        <a:p>
          <a:endParaRPr lang="en-GB" sz="2800" dirty="0">
            <a:solidFill>
              <a:schemeClr val="tx1"/>
            </a:solidFill>
          </a:endParaRPr>
        </a:p>
      </dgm:t>
    </dgm:pt>
    <dgm:pt modelId="{6759E1FE-0305-AD4E-9481-4743915EC160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6.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óc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ột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lao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ng</a:t>
          </a:r>
          <a:endParaRPr lang="en-GB" sz="28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A236CEDE-C917-6D49-BA62-F8C70ADC7E01}" type="parTrans" cxnId="{8971F24C-51BC-B74B-8C67-988FE9E83AEC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2E2ECC73-FEAA-BA42-873A-6B337FF1E837}" type="sibTrans" cxnId="{8971F24C-51BC-B74B-8C67-988FE9E83AEC}">
      <dgm:prSet custT="1"/>
      <dgm:spPr/>
      <dgm:t>
        <a:bodyPr/>
        <a:lstStyle/>
        <a:p>
          <a:endParaRPr lang="en-GB" sz="2800" dirty="0">
            <a:solidFill>
              <a:schemeClr val="tx1"/>
            </a:solidFill>
          </a:endParaRPr>
        </a:p>
      </dgm:t>
    </dgm:pt>
    <dgm:pt modelId="{44880587-C562-4572-BF1A-C2929B173B6C}">
      <dgm:prSet/>
      <dgm:spPr/>
      <dgm:t>
        <a:bodyPr/>
        <a:lstStyle/>
        <a:p>
          <a:r>
            <a:rPr lang="en-US" dirty="0" err="1">
              <a:latin typeface="Times New Roman" pitchFamily="18" charset="0"/>
              <a:cs typeface="Times New Roman" pitchFamily="18" charset="0"/>
            </a:rPr>
            <a:t>Xao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nhãng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26B2E373-4892-454C-BC58-E0291938270F}" type="parTrans" cxnId="{9AF64955-6222-4D09-9CCE-BDDF6261B45E}">
      <dgm:prSet/>
      <dgm:spPr/>
      <dgm:t>
        <a:bodyPr/>
        <a:lstStyle/>
        <a:p>
          <a:endParaRPr lang="en-US"/>
        </a:p>
      </dgm:t>
    </dgm:pt>
    <dgm:pt modelId="{77C66F7C-B7EC-44A9-B202-D6A2617C7FD4}" type="sibTrans" cxnId="{9AF64955-6222-4D09-9CCE-BDDF6261B45E}">
      <dgm:prSet/>
      <dgm:spPr/>
      <dgm:t>
        <a:bodyPr/>
        <a:lstStyle/>
        <a:p>
          <a:endParaRPr lang="en-US"/>
        </a:p>
      </dgm:t>
    </dgm:pt>
    <dgm:pt modelId="{8BF04D36-730C-3C4D-A792-2B5D49531971}" type="pres">
      <dgm:prSet presAssocID="{DB9BE30F-728B-B44C-8D50-2AC7EDA74708}" presName="cycle" presStyleCnt="0">
        <dgm:presLayoutVars>
          <dgm:dir/>
          <dgm:resizeHandles val="exact"/>
        </dgm:presLayoutVars>
      </dgm:prSet>
      <dgm:spPr/>
    </dgm:pt>
    <dgm:pt modelId="{E59F081A-9C93-714A-9D53-8FD7AC310083}" type="pres">
      <dgm:prSet presAssocID="{68D77258-C035-2144-A83F-1F0442B7E3FA}" presName="node" presStyleLbl="node1" presStyleIdx="0" presStyleCnt="7" custScaleX="198531">
        <dgm:presLayoutVars>
          <dgm:bulletEnabled val="1"/>
        </dgm:presLayoutVars>
      </dgm:prSet>
      <dgm:spPr/>
    </dgm:pt>
    <dgm:pt modelId="{614B1740-C3FD-CD47-863D-ED03819261FD}" type="pres">
      <dgm:prSet presAssocID="{BE578196-C69C-9440-AB9C-6609C634E57B}" presName="sibTrans" presStyleLbl="sibTrans2D1" presStyleIdx="0" presStyleCnt="7"/>
      <dgm:spPr/>
    </dgm:pt>
    <dgm:pt modelId="{A933C451-4D8C-EA43-88BD-32E65A925892}" type="pres">
      <dgm:prSet presAssocID="{BE578196-C69C-9440-AB9C-6609C634E57B}" presName="connectorText" presStyleLbl="sibTrans2D1" presStyleIdx="0" presStyleCnt="7"/>
      <dgm:spPr/>
    </dgm:pt>
    <dgm:pt modelId="{3ACE08CE-34B9-174A-A368-96A21ABAC5C7}" type="pres">
      <dgm:prSet presAssocID="{DAB69584-5D62-8343-B68C-728B489283EF}" presName="node" presStyleLbl="node1" presStyleIdx="1" presStyleCnt="7" custScaleX="195153" custRadScaleRad="164795" custRadScaleInc="55249">
        <dgm:presLayoutVars>
          <dgm:bulletEnabled val="1"/>
        </dgm:presLayoutVars>
      </dgm:prSet>
      <dgm:spPr/>
    </dgm:pt>
    <dgm:pt modelId="{9DBEE9A4-ECB8-6740-AA71-78AB30192A7E}" type="pres">
      <dgm:prSet presAssocID="{BA61B3D3-CA4A-D149-B674-F7233EF54425}" presName="sibTrans" presStyleLbl="sibTrans2D1" presStyleIdx="1" presStyleCnt="7"/>
      <dgm:spPr/>
    </dgm:pt>
    <dgm:pt modelId="{EFD3A9C9-3ED5-3E47-A873-070D8EA0DC94}" type="pres">
      <dgm:prSet presAssocID="{BA61B3D3-CA4A-D149-B674-F7233EF54425}" presName="connectorText" presStyleLbl="sibTrans2D1" presStyleIdx="1" presStyleCnt="7"/>
      <dgm:spPr/>
    </dgm:pt>
    <dgm:pt modelId="{C6FDA69A-8734-474B-B8E9-0F130981912F}" type="pres">
      <dgm:prSet presAssocID="{DFEDABD3-31EB-D640-8477-3E0BE43AFC33}" presName="node" presStyleLbl="node1" presStyleIdx="2" presStyleCnt="7" custScaleX="191556" custRadScaleRad="151807" custRadScaleInc="-35899">
        <dgm:presLayoutVars>
          <dgm:bulletEnabled val="1"/>
        </dgm:presLayoutVars>
      </dgm:prSet>
      <dgm:spPr/>
    </dgm:pt>
    <dgm:pt modelId="{42B93B6F-096F-6C4F-A8CF-114858D2480F}" type="pres">
      <dgm:prSet presAssocID="{398774B3-6087-1640-8BA3-8B844736ACC0}" presName="sibTrans" presStyleLbl="sibTrans2D1" presStyleIdx="2" presStyleCnt="7"/>
      <dgm:spPr/>
    </dgm:pt>
    <dgm:pt modelId="{389CE0A2-3CD8-C44C-8F38-252EDDCD5965}" type="pres">
      <dgm:prSet presAssocID="{398774B3-6087-1640-8BA3-8B844736ACC0}" presName="connectorText" presStyleLbl="sibTrans2D1" presStyleIdx="2" presStyleCnt="7"/>
      <dgm:spPr/>
    </dgm:pt>
    <dgm:pt modelId="{97C90009-F7DD-ED48-A81E-338D7C417BBB}" type="pres">
      <dgm:prSet presAssocID="{7ABB8A9F-7324-7840-91AC-9AC14F2CFE69}" presName="node" presStyleLbl="node1" presStyleIdx="3" presStyleCnt="7" custScaleX="193370">
        <dgm:presLayoutVars>
          <dgm:bulletEnabled val="1"/>
        </dgm:presLayoutVars>
      </dgm:prSet>
      <dgm:spPr/>
    </dgm:pt>
    <dgm:pt modelId="{644D70A1-182C-A743-BAE2-715AAA80BA43}" type="pres">
      <dgm:prSet presAssocID="{96BA1768-2C74-D240-9E3B-47353A5F08F4}" presName="sibTrans" presStyleLbl="sibTrans2D1" presStyleIdx="3" presStyleCnt="7"/>
      <dgm:spPr/>
    </dgm:pt>
    <dgm:pt modelId="{14569A2F-80D4-724D-ADEC-90BC44A504CF}" type="pres">
      <dgm:prSet presAssocID="{96BA1768-2C74-D240-9E3B-47353A5F08F4}" presName="connectorText" presStyleLbl="sibTrans2D1" presStyleIdx="3" presStyleCnt="7"/>
      <dgm:spPr/>
    </dgm:pt>
    <dgm:pt modelId="{62B25CB5-1AAF-4D45-A38F-6A1BA3D7D532}" type="pres">
      <dgm:prSet presAssocID="{5FDD35AC-363C-3B4F-93D2-FBAF2BD127AC}" presName="node" presStyleLbl="node1" presStyleIdx="4" presStyleCnt="7" custScaleX="229984" custRadScaleRad="175795" custRadScaleInc="50072">
        <dgm:presLayoutVars>
          <dgm:bulletEnabled val="1"/>
        </dgm:presLayoutVars>
      </dgm:prSet>
      <dgm:spPr/>
    </dgm:pt>
    <dgm:pt modelId="{2F9E614F-8ABD-1A49-BA16-33F7D60BAA29}" type="pres">
      <dgm:prSet presAssocID="{27A042F9-B61A-ED4E-B5DB-90E988FC4FB5}" presName="sibTrans" presStyleLbl="sibTrans2D1" presStyleIdx="4" presStyleCnt="7"/>
      <dgm:spPr/>
    </dgm:pt>
    <dgm:pt modelId="{656D438A-7A34-B744-95FA-02EDD9B2CF5B}" type="pres">
      <dgm:prSet presAssocID="{27A042F9-B61A-ED4E-B5DB-90E988FC4FB5}" presName="connectorText" presStyleLbl="sibTrans2D1" presStyleIdx="4" presStyleCnt="7"/>
      <dgm:spPr/>
    </dgm:pt>
    <dgm:pt modelId="{3B02F32D-BBE9-424F-ACC7-FF1156472B4C}" type="pres">
      <dgm:prSet presAssocID="{6759E1FE-0305-AD4E-9481-4743915EC160}" presName="node" presStyleLbl="node1" presStyleIdx="5" presStyleCnt="7" custScaleX="214085" custRadScaleRad="159645" custRadScaleInc="52809">
        <dgm:presLayoutVars>
          <dgm:bulletEnabled val="1"/>
        </dgm:presLayoutVars>
      </dgm:prSet>
      <dgm:spPr/>
    </dgm:pt>
    <dgm:pt modelId="{2FFC5B96-3C5D-514D-8FB2-BDF483A5BB9D}" type="pres">
      <dgm:prSet presAssocID="{2E2ECC73-FEAA-BA42-873A-6B337FF1E837}" presName="sibTrans" presStyleLbl="sibTrans2D1" presStyleIdx="5" presStyleCnt="7"/>
      <dgm:spPr/>
    </dgm:pt>
    <dgm:pt modelId="{DC952BA5-D567-5240-A018-179C968C163E}" type="pres">
      <dgm:prSet presAssocID="{2E2ECC73-FEAA-BA42-873A-6B337FF1E837}" presName="connectorText" presStyleLbl="sibTrans2D1" presStyleIdx="5" presStyleCnt="7"/>
      <dgm:spPr/>
    </dgm:pt>
    <dgm:pt modelId="{D8A23B51-65F6-4F93-9153-3005C755D867}" type="pres">
      <dgm:prSet presAssocID="{44880587-C562-4572-BF1A-C2929B173B6C}" presName="node" presStyleLbl="node1" presStyleIdx="6" presStyleCnt="7" custScaleX="163010" custRadScaleRad="163158" custRadScaleInc="-26380">
        <dgm:presLayoutVars>
          <dgm:bulletEnabled val="1"/>
        </dgm:presLayoutVars>
      </dgm:prSet>
      <dgm:spPr/>
    </dgm:pt>
    <dgm:pt modelId="{D159B80E-028F-4A5F-ABFB-D676B90DE181}" type="pres">
      <dgm:prSet presAssocID="{77C66F7C-B7EC-44A9-B202-D6A2617C7FD4}" presName="sibTrans" presStyleLbl="sibTrans2D1" presStyleIdx="6" presStyleCnt="7"/>
      <dgm:spPr/>
    </dgm:pt>
    <dgm:pt modelId="{9FAB375A-AB0F-4967-92EC-FD26E0D0715C}" type="pres">
      <dgm:prSet presAssocID="{77C66F7C-B7EC-44A9-B202-D6A2617C7FD4}" presName="connectorText" presStyleLbl="sibTrans2D1" presStyleIdx="6" presStyleCnt="7"/>
      <dgm:spPr/>
    </dgm:pt>
  </dgm:ptLst>
  <dgm:cxnLst>
    <dgm:cxn modelId="{3F648E1C-29E7-D742-94D0-A843A6CB3EE8}" type="presOf" srcId="{DFEDABD3-31EB-D640-8477-3E0BE43AFC33}" destId="{C6FDA69A-8734-474B-B8E9-0F130981912F}" srcOrd="0" destOrd="0" presId="urn:microsoft.com/office/officeart/2005/8/layout/cycle2"/>
    <dgm:cxn modelId="{ADF4FE1C-295E-A04B-B1F9-1FF9C61C0F0F}" srcId="{DB9BE30F-728B-B44C-8D50-2AC7EDA74708}" destId="{68D77258-C035-2144-A83F-1F0442B7E3FA}" srcOrd="0" destOrd="0" parTransId="{F5C83798-85C7-AF44-B209-8324FD12E0F4}" sibTransId="{BE578196-C69C-9440-AB9C-6609C634E57B}"/>
    <dgm:cxn modelId="{7FD4202B-9D6A-B54F-AA05-5D69E0F78236}" type="presOf" srcId="{2E2ECC73-FEAA-BA42-873A-6B337FF1E837}" destId="{DC952BA5-D567-5240-A018-179C968C163E}" srcOrd="1" destOrd="0" presId="urn:microsoft.com/office/officeart/2005/8/layout/cycle2"/>
    <dgm:cxn modelId="{FFB23241-6EA7-FD49-B75E-961E1E996003}" type="presOf" srcId="{BE578196-C69C-9440-AB9C-6609C634E57B}" destId="{614B1740-C3FD-CD47-863D-ED03819261FD}" srcOrd="0" destOrd="0" presId="urn:microsoft.com/office/officeart/2005/8/layout/cycle2"/>
    <dgm:cxn modelId="{BAFE0246-ABF1-4246-B6FB-F2577F40494E}" srcId="{DB9BE30F-728B-B44C-8D50-2AC7EDA74708}" destId="{DAB69584-5D62-8343-B68C-728B489283EF}" srcOrd="1" destOrd="0" parTransId="{1F00C2DB-5D84-574F-920A-235CE834E8E2}" sibTransId="{BA61B3D3-CA4A-D149-B674-F7233EF54425}"/>
    <dgm:cxn modelId="{B1AA7E67-DD63-C240-BEDC-32B961D14D38}" type="presOf" srcId="{DB9BE30F-728B-B44C-8D50-2AC7EDA74708}" destId="{8BF04D36-730C-3C4D-A792-2B5D49531971}" srcOrd="0" destOrd="0" presId="urn:microsoft.com/office/officeart/2005/8/layout/cycle2"/>
    <dgm:cxn modelId="{F1FA7769-0459-024D-9C8A-5AA36AE462A1}" type="presOf" srcId="{DAB69584-5D62-8343-B68C-728B489283EF}" destId="{3ACE08CE-34B9-174A-A368-96A21ABAC5C7}" srcOrd="0" destOrd="0" presId="urn:microsoft.com/office/officeart/2005/8/layout/cycle2"/>
    <dgm:cxn modelId="{F5B58169-37D4-4057-BBAC-ACA443988C4A}" type="presOf" srcId="{77C66F7C-B7EC-44A9-B202-D6A2617C7FD4}" destId="{9FAB375A-AB0F-4967-92EC-FD26E0D0715C}" srcOrd="1" destOrd="0" presId="urn:microsoft.com/office/officeart/2005/8/layout/cycle2"/>
    <dgm:cxn modelId="{C5FACB4A-E6CC-2B4A-A844-8774FAA21EE0}" type="presOf" srcId="{6759E1FE-0305-AD4E-9481-4743915EC160}" destId="{3B02F32D-BBE9-424F-ACC7-FF1156472B4C}" srcOrd="0" destOrd="0" presId="urn:microsoft.com/office/officeart/2005/8/layout/cycle2"/>
    <dgm:cxn modelId="{895E744B-2E93-E444-880A-55989E8A65BD}" type="presOf" srcId="{2E2ECC73-FEAA-BA42-873A-6B337FF1E837}" destId="{2FFC5B96-3C5D-514D-8FB2-BDF483A5BB9D}" srcOrd="0" destOrd="0" presId="urn:microsoft.com/office/officeart/2005/8/layout/cycle2"/>
    <dgm:cxn modelId="{9F06584C-0FBC-DA45-A8AB-4D771C8A5226}" type="presOf" srcId="{5FDD35AC-363C-3B4F-93D2-FBAF2BD127AC}" destId="{62B25CB5-1AAF-4D45-A38F-6A1BA3D7D532}" srcOrd="0" destOrd="0" presId="urn:microsoft.com/office/officeart/2005/8/layout/cycle2"/>
    <dgm:cxn modelId="{8971F24C-51BC-B74B-8C67-988FE9E83AEC}" srcId="{DB9BE30F-728B-B44C-8D50-2AC7EDA74708}" destId="{6759E1FE-0305-AD4E-9481-4743915EC160}" srcOrd="5" destOrd="0" parTransId="{A236CEDE-C917-6D49-BA62-F8C70ADC7E01}" sibTransId="{2E2ECC73-FEAA-BA42-873A-6B337FF1E837}"/>
    <dgm:cxn modelId="{3F040771-B812-9148-9EB8-9024FD42949A}" type="presOf" srcId="{398774B3-6087-1640-8BA3-8B844736ACC0}" destId="{42B93B6F-096F-6C4F-A8CF-114858D2480F}" srcOrd="0" destOrd="0" presId="urn:microsoft.com/office/officeart/2005/8/layout/cycle2"/>
    <dgm:cxn modelId="{8376F072-64C5-3942-BC6C-0452DEF27072}" type="presOf" srcId="{7ABB8A9F-7324-7840-91AC-9AC14F2CFE69}" destId="{97C90009-F7DD-ED48-A81E-338D7C417BBB}" srcOrd="0" destOrd="0" presId="urn:microsoft.com/office/officeart/2005/8/layout/cycle2"/>
    <dgm:cxn modelId="{9AF64955-6222-4D09-9CCE-BDDF6261B45E}" srcId="{DB9BE30F-728B-B44C-8D50-2AC7EDA74708}" destId="{44880587-C562-4572-BF1A-C2929B173B6C}" srcOrd="6" destOrd="0" parTransId="{26B2E373-4892-454C-BC58-E0291938270F}" sibTransId="{77C66F7C-B7EC-44A9-B202-D6A2617C7FD4}"/>
    <dgm:cxn modelId="{1171655A-B8E5-504C-9B22-2CCBF1E7D439}" type="presOf" srcId="{BA61B3D3-CA4A-D149-B674-F7233EF54425}" destId="{EFD3A9C9-3ED5-3E47-A873-070D8EA0DC94}" srcOrd="1" destOrd="0" presId="urn:microsoft.com/office/officeart/2005/8/layout/cycle2"/>
    <dgm:cxn modelId="{DBAF797F-582B-5D49-90D5-47F02C3C5309}" type="presOf" srcId="{BE578196-C69C-9440-AB9C-6609C634E57B}" destId="{A933C451-4D8C-EA43-88BD-32E65A925892}" srcOrd="1" destOrd="0" presId="urn:microsoft.com/office/officeart/2005/8/layout/cycle2"/>
    <dgm:cxn modelId="{B478429A-5543-B142-B9EB-2AA13A4C6006}" srcId="{DB9BE30F-728B-B44C-8D50-2AC7EDA74708}" destId="{7ABB8A9F-7324-7840-91AC-9AC14F2CFE69}" srcOrd="3" destOrd="0" parTransId="{CCE84FF9-7E9D-9F45-A0D1-EE4168DF6227}" sibTransId="{96BA1768-2C74-D240-9E3B-47353A5F08F4}"/>
    <dgm:cxn modelId="{6412D9A1-B878-45A8-AEDC-B7393B7EBF6A}" type="presOf" srcId="{44880587-C562-4572-BF1A-C2929B173B6C}" destId="{D8A23B51-65F6-4F93-9153-3005C755D867}" srcOrd="0" destOrd="0" presId="urn:microsoft.com/office/officeart/2005/8/layout/cycle2"/>
    <dgm:cxn modelId="{4A9A6BA5-51C1-4FE6-A397-6159D78396B6}" type="presOf" srcId="{77C66F7C-B7EC-44A9-B202-D6A2617C7FD4}" destId="{D159B80E-028F-4A5F-ABFB-D676B90DE181}" srcOrd="0" destOrd="0" presId="urn:microsoft.com/office/officeart/2005/8/layout/cycle2"/>
    <dgm:cxn modelId="{FB2762A9-D1A7-844D-88D1-2CBF0111281E}" type="presOf" srcId="{398774B3-6087-1640-8BA3-8B844736ACC0}" destId="{389CE0A2-3CD8-C44C-8F38-252EDDCD5965}" srcOrd="1" destOrd="0" presId="urn:microsoft.com/office/officeart/2005/8/layout/cycle2"/>
    <dgm:cxn modelId="{430A72B0-6D52-1945-BF7D-BAB273901F04}" type="presOf" srcId="{27A042F9-B61A-ED4E-B5DB-90E988FC4FB5}" destId="{2F9E614F-8ABD-1A49-BA16-33F7D60BAA29}" srcOrd="0" destOrd="0" presId="urn:microsoft.com/office/officeart/2005/8/layout/cycle2"/>
    <dgm:cxn modelId="{84E494C0-74DA-DA40-B842-554FF585C19C}" type="presOf" srcId="{BA61B3D3-CA4A-D149-B674-F7233EF54425}" destId="{9DBEE9A4-ECB8-6740-AA71-78AB30192A7E}" srcOrd="0" destOrd="0" presId="urn:microsoft.com/office/officeart/2005/8/layout/cycle2"/>
    <dgm:cxn modelId="{D8B1AFC1-83C5-8B43-B991-9ED49CBB6B88}" srcId="{DB9BE30F-728B-B44C-8D50-2AC7EDA74708}" destId="{DFEDABD3-31EB-D640-8477-3E0BE43AFC33}" srcOrd="2" destOrd="0" parTransId="{EF047686-7931-EA48-88DD-6405EDF220F6}" sibTransId="{398774B3-6087-1640-8BA3-8B844736ACC0}"/>
    <dgm:cxn modelId="{9530AAC3-D7BD-0D45-B450-CC637B524C8B}" type="presOf" srcId="{68D77258-C035-2144-A83F-1F0442B7E3FA}" destId="{E59F081A-9C93-714A-9D53-8FD7AC310083}" srcOrd="0" destOrd="0" presId="urn:microsoft.com/office/officeart/2005/8/layout/cycle2"/>
    <dgm:cxn modelId="{7DA38DD6-E66F-8A42-A8D0-3AC6BB2682C2}" type="presOf" srcId="{96BA1768-2C74-D240-9E3B-47353A5F08F4}" destId="{14569A2F-80D4-724D-ADEC-90BC44A504CF}" srcOrd="1" destOrd="0" presId="urn:microsoft.com/office/officeart/2005/8/layout/cycle2"/>
    <dgm:cxn modelId="{895FB8E8-57EA-724C-AAF7-2F7A356D20C4}" type="presOf" srcId="{27A042F9-B61A-ED4E-B5DB-90E988FC4FB5}" destId="{656D438A-7A34-B744-95FA-02EDD9B2CF5B}" srcOrd="1" destOrd="0" presId="urn:microsoft.com/office/officeart/2005/8/layout/cycle2"/>
    <dgm:cxn modelId="{78D706F1-02BD-834F-9C5B-BEC1A083E065}" srcId="{DB9BE30F-728B-B44C-8D50-2AC7EDA74708}" destId="{5FDD35AC-363C-3B4F-93D2-FBAF2BD127AC}" srcOrd="4" destOrd="0" parTransId="{FC6B259A-5E92-EB4F-B10B-B61CFE1D4B77}" sibTransId="{27A042F9-B61A-ED4E-B5DB-90E988FC4FB5}"/>
    <dgm:cxn modelId="{E1859BFB-171B-4440-A7D2-6D8FCD967085}" type="presOf" srcId="{96BA1768-2C74-D240-9E3B-47353A5F08F4}" destId="{644D70A1-182C-A743-BAE2-715AAA80BA43}" srcOrd="0" destOrd="0" presId="urn:microsoft.com/office/officeart/2005/8/layout/cycle2"/>
    <dgm:cxn modelId="{3BFE816F-5766-D941-8173-6F18AAACAD44}" type="presParOf" srcId="{8BF04D36-730C-3C4D-A792-2B5D49531971}" destId="{E59F081A-9C93-714A-9D53-8FD7AC310083}" srcOrd="0" destOrd="0" presId="urn:microsoft.com/office/officeart/2005/8/layout/cycle2"/>
    <dgm:cxn modelId="{C852ED92-6295-C04B-AC73-1A40D73D414D}" type="presParOf" srcId="{8BF04D36-730C-3C4D-A792-2B5D49531971}" destId="{614B1740-C3FD-CD47-863D-ED03819261FD}" srcOrd="1" destOrd="0" presId="urn:microsoft.com/office/officeart/2005/8/layout/cycle2"/>
    <dgm:cxn modelId="{2F3F9C8F-FAAC-4C4E-B336-ED418DDBFB5F}" type="presParOf" srcId="{614B1740-C3FD-CD47-863D-ED03819261FD}" destId="{A933C451-4D8C-EA43-88BD-32E65A925892}" srcOrd="0" destOrd="0" presId="urn:microsoft.com/office/officeart/2005/8/layout/cycle2"/>
    <dgm:cxn modelId="{DEBCB041-F539-4C48-8231-EEFBAA0AFF70}" type="presParOf" srcId="{8BF04D36-730C-3C4D-A792-2B5D49531971}" destId="{3ACE08CE-34B9-174A-A368-96A21ABAC5C7}" srcOrd="2" destOrd="0" presId="urn:microsoft.com/office/officeart/2005/8/layout/cycle2"/>
    <dgm:cxn modelId="{C7D50243-9635-5241-8CC1-A6F6DDA84544}" type="presParOf" srcId="{8BF04D36-730C-3C4D-A792-2B5D49531971}" destId="{9DBEE9A4-ECB8-6740-AA71-78AB30192A7E}" srcOrd="3" destOrd="0" presId="urn:microsoft.com/office/officeart/2005/8/layout/cycle2"/>
    <dgm:cxn modelId="{9956DA51-B406-8D4A-84E7-7AD93CE0CDBE}" type="presParOf" srcId="{9DBEE9A4-ECB8-6740-AA71-78AB30192A7E}" destId="{EFD3A9C9-3ED5-3E47-A873-070D8EA0DC94}" srcOrd="0" destOrd="0" presId="urn:microsoft.com/office/officeart/2005/8/layout/cycle2"/>
    <dgm:cxn modelId="{8007160C-2C54-7F4E-95B3-8FAB32FC5425}" type="presParOf" srcId="{8BF04D36-730C-3C4D-A792-2B5D49531971}" destId="{C6FDA69A-8734-474B-B8E9-0F130981912F}" srcOrd="4" destOrd="0" presId="urn:microsoft.com/office/officeart/2005/8/layout/cycle2"/>
    <dgm:cxn modelId="{C91B3ADD-6179-F044-8D0D-C6F50E53F423}" type="presParOf" srcId="{8BF04D36-730C-3C4D-A792-2B5D49531971}" destId="{42B93B6F-096F-6C4F-A8CF-114858D2480F}" srcOrd="5" destOrd="0" presId="urn:microsoft.com/office/officeart/2005/8/layout/cycle2"/>
    <dgm:cxn modelId="{1D830A36-D33F-DC48-B2BD-0EE291909D07}" type="presParOf" srcId="{42B93B6F-096F-6C4F-A8CF-114858D2480F}" destId="{389CE0A2-3CD8-C44C-8F38-252EDDCD5965}" srcOrd="0" destOrd="0" presId="urn:microsoft.com/office/officeart/2005/8/layout/cycle2"/>
    <dgm:cxn modelId="{984DB26A-3866-1745-8A94-E8FB362E698C}" type="presParOf" srcId="{8BF04D36-730C-3C4D-A792-2B5D49531971}" destId="{97C90009-F7DD-ED48-A81E-338D7C417BBB}" srcOrd="6" destOrd="0" presId="urn:microsoft.com/office/officeart/2005/8/layout/cycle2"/>
    <dgm:cxn modelId="{5844FB33-03E6-D64E-B828-BA888D066E61}" type="presParOf" srcId="{8BF04D36-730C-3C4D-A792-2B5D49531971}" destId="{644D70A1-182C-A743-BAE2-715AAA80BA43}" srcOrd="7" destOrd="0" presId="urn:microsoft.com/office/officeart/2005/8/layout/cycle2"/>
    <dgm:cxn modelId="{DB8000CA-1E3F-AB41-9CDB-11B507190640}" type="presParOf" srcId="{644D70A1-182C-A743-BAE2-715AAA80BA43}" destId="{14569A2F-80D4-724D-ADEC-90BC44A504CF}" srcOrd="0" destOrd="0" presId="urn:microsoft.com/office/officeart/2005/8/layout/cycle2"/>
    <dgm:cxn modelId="{40FB9F81-1072-0E4A-8071-4F8B6EFBA666}" type="presParOf" srcId="{8BF04D36-730C-3C4D-A792-2B5D49531971}" destId="{62B25CB5-1AAF-4D45-A38F-6A1BA3D7D532}" srcOrd="8" destOrd="0" presId="urn:microsoft.com/office/officeart/2005/8/layout/cycle2"/>
    <dgm:cxn modelId="{F24E91C1-2318-674F-B6B1-06A4163791F8}" type="presParOf" srcId="{8BF04D36-730C-3C4D-A792-2B5D49531971}" destId="{2F9E614F-8ABD-1A49-BA16-33F7D60BAA29}" srcOrd="9" destOrd="0" presId="urn:microsoft.com/office/officeart/2005/8/layout/cycle2"/>
    <dgm:cxn modelId="{296BCA22-9057-EA41-BDEB-AB4F6C1DC25A}" type="presParOf" srcId="{2F9E614F-8ABD-1A49-BA16-33F7D60BAA29}" destId="{656D438A-7A34-B744-95FA-02EDD9B2CF5B}" srcOrd="0" destOrd="0" presId="urn:microsoft.com/office/officeart/2005/8/layout/cycle2"/>
    <dgm:cxn modelId="{A7DEF633-5E70-7D47-8EEA-06F3CF9BF150}" type="presParOf" srcId="{8BF04D36-730C-3C4D-A792-2B5D49531971}" destId="{3B02F32D-BBE9-424F-ACC7-FF1156472B4C}" srcOrd="10" destOrd="0" presId="urn:microsoft.com/office/officeart/2005/8/layout/cycle2"/>
    <dgm:cxn modelId="{9BEEBC84-6B01-5B44-9082-FCFA164E0688}" type="presParOf" srcId="{8BF04D36-730C-3C4D-A792-2B5D49531971}" destId="{2FFC5B96-3C5D-514D-8FB2-BDF483A5BB9D}" srcOrd="11" destOrd="0" presId="urn:microsoft.com/office/officeart/2005/8/layout/cycle2"/>
    <dgm:cxn modelId="{F512F982-D81C-E448-A238-4E1C7FFC7C8D}" type="presParOf" srcId="{2FFC5B96-3C5D-514D-8FB2-BDF483A5BB9D}" destId="{DC952BA5-D567-5240-A018-179C968C163E}" srcOrd="0" destOrd="0" presId="urn:microsoft.com/office/officeart/2005/8/layout/cycle2"/>
    <dgm:cxn modelId="{18B49DF8-B704-4AE1-A185-7DB737106810}" type="presParOf" srcId="{8BF04D36-730C-3C4D-A792-2B5D49531971}" destId="{D8A23B51-65F6-4F93-9153-3005C755D867}" srcOrd="12" destOrd="0" presId="urn:microsoft.com/office/officeart/2005/8/layout/cycle2"/>
    <dgm:cxn modelId="{F73B7594-0361-418C-A8E1-CA6EF8F1F709}" type="presParOf" srcId="{8BF04D36-730C-3C4D-A792-2B5D49531971}" destId="{D159B80E-028F-4A5F-ABFB-D676B90DE181}" srcOrd="13" destOrd="0" presId="urn:microsoft.com/office/officeart/2005/8/layout/cycle2"/>
    <dgm:cxn modelId="{A8B27B6A-B4B6-487E-87A2-7F189116DEB9}" type="presParOf" srcId="{D159B80E-028F-4A5F-ABFB-D676B90DE181}" destId="{9FAB375A-AB0F-4967-92EC-FD26E0D0715C}" srcOrd="0" destOrd="0" presId="urn:microsoft.com/office/officeart/2005/8/layout/cycle2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4B0CAFF9-1C0E-9045-8B38-F1365F4DC304}" type="doc">
      <dgm:prSet loTypeId="urn:microsoft.com/office/officeart/2005/8/layout/hierarchy1" loCatId="" qsTypeId="urn:microsoft.com/office/officeart/2005/8/quickstyle/simple4" qsCatId="simple" csTypeId="urn:microsoft.com/office/officeart/2005/8/colors/colorful1#4" csCatId="colorful" phldr="1"/>
      <dgm:spPr/>
      <dgm:t>
        <a:bodyPr/>
        <a:lstStyle/>
        <a:p>
          <a:endParaRPr lang="en-US"/>
        </a:p>
      </dgm:t>
    </dgm:pt>
    <dgm:pt modelId="{54C9A926-889F-8F48-9F4D-F28C8CB7A766}">
      <dgm:prSet phldrT="[Text]" custT="1"/>
      <dgm:spPr/>
      <dgm:t>
        <a:bodyPr/>
        <a:lstStyle/>
        <a:p>
          <a:r>
            <a:rPr lang="en-US" sz="2000" dirty="0" err="1"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em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thể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liên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quan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tới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bạo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lực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gia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đình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theo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2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hướng</a:t>
          </a:r>
          <a:endParaRPr lang="en-US" sz="2000" dirty="0">
            <a:latin typeface="Times New Roman" pitchFamily="18" charset="0"/>
            <a:cs typeface="Times New Roman" pitchFamily="18" charset="0"/>
          </a:endParaRPr>
        </a:p>
      </dgm:t>
    </dgm:pt>
    <dgm:pt modelId="{FA1D37CF-C5BA-F946-801F-D2DFB7849729}" type="parTrans" cxnId="{8ECB95B9-51CF-344A-98FB-12CF3C5169A5}">
      <dgm:prSet/>
      <dgm:spPr/>
      <dgm:t>
        <a:bodyPr/>
        <a:lstStyle/>
        <a:p>
          <a:endParaRPr lang="en-US" sz="2000"/>
        </a:p>
      </dgm:t>
    </dgm:pt>
    <dgm:pt modelId="{FE45A18E-6621-AB4E-9F20-EC0421FA67FC}" type="sibTrans" cxnId="{8ECB95B9-51CF-344A-98FB-12CF3C5169A5}">
      <dgm:prSet/>
      <dgm:spPr/>
      <dgm:t>
        <a:bodyPr/>
        <a:lstStyle/>
        <a:p>
          <a:endParaRPr lang="en-US" sz="2000"/>
        </a:p>
      </dgm:t>
    </dgm:pt>
    <dgm:pt modelId="{76C7D7F1-4B5C-614D-BAC5-A38849FF6D97}">
      <dgm:prSet phldrT="[Text]" custT="1"/>
      <dgm:spPr/>
      <dgm:t>
        <a:bodyPr/>
        <a:lstStyle/>
        <a:p>
          <a:r>
            <a:rPr lang="en-US" sz="2000" dirty="0" err="1">
              <a:latin typeface="Times New Roman" pitchFamily="18" charset="0"/>
              <a:cs typeface="Times New Roman" pitchFamily="18" charset="0"/>
            </a:rPr>
            <a:t>Bạo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lực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liên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quan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trực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tiếp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tới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trẻ</a:t>
          </a:r>
          <a:endParaRPr lang="en-US" sz="2000" dirty="0">
            <a:latin typeface="Times New Roman" pitchFamily="18" charset="0"/>
            <a:cs typeface="Times New Roman" pitchFamily="18" charset="0"/>
          </a:endParaRPr>
        </a:p>
      </dgm:t>
    </dgm:pt>
    <dgm:pt modelId="{A6A4DFBB-D5A6-F54F-8A45-626F96C37F1E}" type="parTrans" cxnId="{E017BAC9-63F4-DC4B-9695-7EB27FEA3FFF}">
      <dgm:prSet/>
      <dgm:spPr/>
      <dgm:t>
        <a:bodyPr/>
        <a:lstStyle/>
        <a:p>
          <a:endParaRPr lang="en-US" sz="2000"/>
        </a:p>
      </dgm:t>
    </dgm:pt>
    <dgm:pt modelId="{F4E813F9-6315-0048-B9B0-53FB22C10E11}" type="sibTrans" cxnId="{E017BAC9-63F4-DC4B-9695-7EB27FEA3FFF}">
      <dgm:prSet/>
      <dgm:spPr/>
      <dgm:t>
        <a:bodyPr/>
        <a:lstStyle/>
        <a:p>
          <a:endParaRPr lang="en-US" sz="2000"/>
        </a:p>
      </dgm:t>
    </dgm:pt>
    <dgm:pt modelId="{5F94E587-7EA5-4F42-B574-C7148461BC25}">
      <dgm:prSet phldrT="[Text]" custT="1"/>
      <dgm:spPr/>
      <dgm:t>
        <a:bodyPr/>
        <a:lstStyle/>
        <a:p>
          <a:r>
            <a:rPr lang="en-US" sz="2000" dirty="0" err="1">
              <a:latin typeface="Times New Roman" pitchFamily="18" charset="0"/>
              <a:cs typeface="Times New Roman" pitchFamily="18" charset="0"/>
            </a:rPr>
            <a:t>Là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nạn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nhân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trực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tiếp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và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được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xem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như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là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bạo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hành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về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mặt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thể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chất</a:t>
          </a:r>
          <a:endParaRPr lang="en-US" sz="2000" dirty="0">
            <a:latin typeface="Times New Roman" pitchFamily="18" charset="0"/>
            <a:cs typeface="Times New Roman" pitchFamily="18" charset="0"/>
          </a:endParaRPr>
        </a:p>
      </dgm:t>
    </dgm:pt>
    <dgm:pt modelId="{FC081B48-B40C-7141-8506-3DDF66137201}" type="parTrans" cxnId="{4ACAE506-72D8-9B41-B6FC-36BBAB4F4C55}">
      <dgm:prSet/>
      <dgm:spPr/>
      <dgm:t>
        <a:bodyPr/>
        <a:lstStyle/>
        <a:p>
          <a:endParaRPr lang="en-US" sz="2000"/>
        </a:p>
      </dgm:t>
    </dgm:pt>
    <dgm:pt modelId="{7F085FA5-FC70-3440-89BD-4AF3E5C264E0}" type="sibTrans" cxnId="{4ACAE506-72D8-9B41-B6FC-36BBAB4F4C55}">
      <dgm:prSet/>
      <dgm:spPr/>
      <dgm:t>
        <a:bodyPr/>
        <a:lstStyle/>
        <a:p>
          <a:endParaRPr lang="en-US" sz="2000"/>
        </a:p>
      </dgm:t>
    </dgm:pt>
    <dgm:pt modelId="{5CD9892F-2662-DF4C-92CB-ACBD3FC7AD7A}">
      <dgm:prSet phldrT="[Text]" custT="1"/>
      <dgm:spPr/>
      <dgm:t>
        <a:bodyPr/>
        <a:lstStyle/>
        <a:p>
          <a:r>
            <a:rPr lang="en-US" sz="2000" dirty="0" err="1"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xem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hoặc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nghe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thấy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hành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vi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bạo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lực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đối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với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thành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viên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khác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trong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gia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đình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.</a:t>
          </a:r>
        </a:p>
      </dgm:t>
    </dgm:pt>
    <dgm:pt modelId="{8840C0D5-02F4-DB49-B20E-1A68BF878BB3}" type="parTrans" cxnId="{0494255C-583A-E045-86EC-9AD931731B51}">
      <dgm:prSet/>
      <dgm:spPr/>
      <dgm:t>
        <a:bodyPr/>
        <a:lstStyle/>
        <a:p>
          <a:endParaRPr lang="en-US" sz="2000"/>
        </a:p>
      </dgm:t>
    </dgm:pt>
    <dgm:pt modelId="{84114F01-182F-6342-8460-B6DB2EAB27EC}" type="sibTrans" cxnId="{0494255C-583A-E045-86EC-9AD931731B51}">
      <dgm:prSet/>
      <dgm:spPr/>
      <dgm:t>
        <a:bodyPr/>
        <a:lstStyle/>
        <a:p>
          <a:endParaRPr lang="en-US" sz="2000"/>
        </a:p>
      </dgm:t>
    </dgm:pt>
    <dgm:pt modelId="{32FEBE3E-C99F-9042-84B2-F4B1BDB488F4}">
      <dgm:prSet phldrT="[Text]" custT="1"/>
      <dgm:spPr/>
      <dgm:t>
        <a:bodyPr/>
        <a:lstStyle/>
        <a:p>
          <a:r>
            <a:rPr lang="en-US" sz="2000" dirty="0" err="1">
              <a:latin typeface="Times New Roman" pitchFamily="18" charset="0"/>
              <a:cs typeface="Times New Roman" pitchFamily="18" charset="0"/>
            </a:rPr>
            <a:t>Nạn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nhân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gián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tiếp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–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Đây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được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gọi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là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một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dạng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bạo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hành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Chứng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kiến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bạo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lực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gia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đình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.</a:t>
          </a:r>
        </a:p>
      </dgm:t>
    </dgm:pt>
    <dgm:pt modelId="{F4C94070-7657-434E-B721-89C140455E67}" type="parTrans" cxnId="{698DA86D-7C57-0B4F-BFB0-0E44824922CD}">
      <dgm:prSet/>
      <dgm:spPr/>
      <dgm:t>
        <a:bodyPr/>
        <a:lstStyle/>
        <a:p>
          <a:endParaRPr lang="en-US" sz="2000"/>
        </a:p>
      </dgm:t>
    </dgm:pt>
    <dgm:pt modelId="{942195E6-DFC0-DC49-870D-21903A685356}" type="sibTrans" cxnId="{698DA86D-7C57-0B4F-BFB0-0E44824922CD}">
      <dgm:prSet/>
      <dgm:spPr/>
      <dgm:t>
        <a:bodyPr/>
        <a:lstStyle/>
        <a:p>
          <a:endParaRPr lang="en-US" sz="2000"/>
        </a:p>
      </dgm:t>
    </dgm:pt>
    <dgm:pt modelId="{37DA625C-FA82-944C-9056-4529D5DFFC42}">
      <dgm:prSet phldrT="[Text]" custT="1"/>
      <dgm:spPr/>
      <dgm:t>
        <a:bodyPr/>
        <a:lstStyle/>
        <a:p>
          <a:r>
            <a:rPr lang="en-US" sz="20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thể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gây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ra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sự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sợ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hãi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,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căng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thẳng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đối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với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giống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như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khi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là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nạn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nhân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trực</a:t>
          </a:r>
          <a:r>
            <a:rPr lang="en-US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dirty="0" err="1">
              <a:latin typeface="Times New Roman" pitchFamily="18" charset="0"/>
              <a:cs typeface="Times New Roman" pitchFamily="18" charset="0"/>
            </a:rPr>
            <a:t>tiếp</a:t>
          </a:r>
          <a:endParaRPr lang="en-US" sz="2000" dirty="0">
            <a:latin typeface="Times New Roman" pitchFamily="18" charset="0"/>
            <a:cs typeface="Times New Roman" pitchFamily="18" charset="0"/>
          </a:endParaRPr>
        </a:p>
      </dgm:t>
    </dgm:pt>
    <dgm:pt modelId="{371C541F-F4C1-FC40-8ACB-F6B93275E86C}" type="parTrans" cxnId="{813C849E-18F0-024C-AB01-2DB0235469B5}">
      <dgm:prSet/>
      <dgm:spPr/>
      <dgm:t>
        <a:bodyPr/>
        <a:lstStyle/>
        <a:p>
          <a:endParaRPr lang="en-US" sz="2000"/>
        </a:p>
      </dgm:t>
    </dgm:pt>
    <dgm:pt modelId="{2413B5BC-5949-1944-BB13-3C6EE5A8EFB5}" type="sibTrans" cxnId="{813C849E-18F0-024C-AB01-2DB0235469B5}">
      <dgm:prSet/>
      <dgm:spPr/>
      <dgm:t>
        <a:bodyPr/>
        <a:lstStyle/>
        <a:p>
          <a:endParaRPr lang="en-US" sz="2000"/>
        </a:p>
      </dgm:t>
    </dgm:pt>
    <dgm:pt modelId="{F471EB25-650C-B54B-8457-7EB7B2AD81AF}" type="pres">
      <dgm:prSet presAssocID="{4B0CAFF9-1C0E-9045-8B38-F1365F4DC304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49E968A8-1C73-AA4F-BE8A-50EC4809A9E7}" type="pres">
      <dgm:prSet presAssocID="{54C9A926-889F-8F48-9F4D-F28C8CB7A766}" presName="hierRoot1" presStyleCnt="0"/>
      <dgm:spPr/>
    </dgm:pt>
    <dgm:pt modelId="{86411ADF-3062-9049-81F0-76EBBECA25F0}" type="pres">
      <dgm:prSet presAssocID="{54C9A926-889F-8F48-9F4D-F28C8CB7A766}" presName="composite" presStyleCnt="0"/>
      <dgm:spPr/>
    </dgm:pt>
    <dgm:pt modelId="{A93E7E51-A6FC-5647-8535-3A949C5A337F}" type="pres">
      <dgm:prSet presAssocID="{54C9A926-889F-8F48-9F4D-F28C8CB7A766}" presName="background" presStyleLbl="node0" presStyleIdx="0" presStyleCnt="1"/>
      <dgm:spPr/>
    </dgm:pt>
    <dgm:pt modelId="{E7BBE52F-F774-9443-B4B6-B145E47778C4}" type="pres">
      <dgm:prSet presAssocID="{54C9A926-889F-8F48-9F4D-F28C8CB7A766}" presName="text" presStyleLbl="fgAcc0" presStyleIdx="0" presStyleCnt="1" custScaleX="255797">
        <dgm:presLayoutVars>
          <dgm:chPref val="3"/>
        </dgm:presLayoutVars>
      </dgm:prSet>
      <dgm:spPr/>
    </dgm:pt>
    <dgm:pt modelId="{C0B69DA7-3F42-1549-8769-C504DE1C8A42}" type="pres">
      <dgm:prSet presAssocID="{54C9A926-889F-8F48-9F4D-F28C8CB7A766}" presName="hierChild2" presStyleCnt="0"/>
      <dgm:spPr/>
    </dgm:pt>
    <dgm:pt modelId="{32726103-D94F-9C41-9C60-A69D810735B7}" type="pres">
      <dgm:prSet presAssocID="{A6A4DFBB-D5A6-F54F-8A45-626F96C37F1E}" presName="Name10" presStyleLbl="parChTrans1D2" presStyleIdx="0" presStyleCnt="2"/>
      <dgm:spPr/>
    </dgm:pt>
    <dgm:pt modelId="{4C9DE4F1-40B9-9E45-9350-19823ADE338D}" type="pres">
      <dgm:prSet presAssocID="{76C7D7F1-4B5C-614D-BAC5-A38849FF6D97}" presName="hierRoot2" presStyleCnt="0"/>
      <dgm:spPr/>
    </dgm:pt>
    <dgm:pt modelId="{FA3A5EE2-5207-F746-BE57-5614DED7AE1D}" type="pres">
      <dgm:prSet presAssocID="{76C7D7F1-4B5C-614D-BAC5-A38849FF6D97}" presName="composite2" presStyleCnt="0"/>
      <dgm:spPr/>
    </dgm:pt>
    <dgm:pt modelId="{F0C9696F-1018-FD40-8C02-643D940A4509}" type="pres">
      <dgm:prSet presAssocID="{76C7D7F1-4B5C-614D-BAC5-A38849FF6D97}" presName="background2" presStyleLbl="node2" presStyleIdx="0" presStyleCnt="2"/>
      <dgm:spPr/>
    </dgm:pt>
    <dgm:pt modelId="{BC30E663-2C9F-A947-A97F-76B453B5AA07}" type="pres">
      <dgm:prSet presAssocID="{76C7D7F1-4B5C-614D-BAC5-A38849FF6D97}" presName="text2" presStyleLbl="fgAcc2" presStyleIdx="0" presStyleCnt="2" custScaleX="164190">
        <dgm:presLayoutVars>
          <dgm:chPref val="3"/>
        </dgm:presLayoutVars>
      </dgm:prSet>
      <dgm:spPr/>
    </dgm:pt>
    <dgm:pt modelId="{D4E598C3-BB45-9844-99A3-6601FDEF3976}" type="pres">
      <dgm:prSet presAssocID="{76C7D7F1-4B5C-614D-BAC5-A38849FF6D97}" presName="hierChild3" presStyleCnt="0"/>
      <dgm:spPr/>
    </dgm:pt>
    <dgm:pt modelId="{B6374AAC-B1DB-DA4A-B379-C760EC99BB44}" type="pres">
      <dgm:prSet presAssocID="{FC081B48-B40C-7141-8506-3DDF66137201}" presName="Name17" presStyleLbl="parChTrans1D3" presStyleIdx="0" presStyleCnt="2"/>
      <dgm:spPr/>
    </dgm:pt>
    <dgm:pt modelId="{6FECA1CC-B433-A544-B82A-5E0591B7DD9D}" type="pres">
      <dgm:prSet presAssocID="{5F94E587-7EA5-4F42-B574-C7148461BC25}" presName="hierRoot3" presStyleCnt="0"/>
      <dgm:spPr/>
    </dgm:pt>
    <dgm:pt modelId="{0198C9C3-0421-394D-91EA-26E570CE0B3A}" type="pres">
      <dgm:prSet presAssocID="{5F94E587-7EA5-4F42-B574-C7148461BC25}" presName="composite3" presStyleCnt="0"/>
      <dgm:spPr/>
    </dgm:pt>
    <dgm:pt modelId="{D445CAD1-8AB5-D546-9645-271308AC359F}" type="pres">
      <dgm:prSet presAssocID="{5F94E587-7EA5-4F42-B574-C7148461BC25}" presName="background3" presStyleLbl="node3" presStyleIdx="0" presStyleCnt="2"/>
      <dgm:spPr/>
    </dgm:pt>
    <dgm:pt modelId="{D8B66378-1275-AC47-AEAE-498898C74EC5}" type="pres">
      <dgm:prSet presAssocID="{5F94E587-7EA5-4F42-B574-C7148461BC25}" presName="text3" presStyleLbl="fgAcc3" presStyleIdx="0" presStyleCnt="2" custScaleX="227114">
        <dgm:presLayoutVars>
          <dgm:chPref val="3"/>
        </dgm:presLayoutVars>
      </dgm:prSet>
      <dgm:spPr/>
    </dgm:pt>
    <dgm:pt modelId="{FC0A1B6D-9968-464F-B8C1-396A80C290D4}" type="pres">
      <dgm:prSet presAssocID="{5F94E587-7EA5-4F42-B574-C7148461BC25}" presName="hierChild4" presStyleCnt="0"/>
      <dgm:spPr/>
    </dgm:pt>
    <dgm:pt modelId="{A0B5035B-0A47-8343-A482-F3AE43E08570}" type="pres">
      <dgm:prSet presAssocID="{8840C0D5-02F4-DB49-B20E-1A68BF878BB3}" presName="Name10" presStyleLbl="parChTrans1D2" presStyleIdx="1" presStyleCnt="2"/>
      <dgm:spPr/>
    </dgm:pt>
    <dgm:pt modelId="{90BE5FA1-8D44-904A-80B9-4044F35DBF45}" type="pres">
      <dgm:prSet presAssocID="{5CD9892F-2662-DF4C-92CB-ACBD3FC7AD7A}" presName="hierRoot2" presStyleCnt="0"/>
      <dgm:spPr/>
    </dgm:pt>
    <dgm:pt modelId="{431B6409-A01E-C448-8620-FB845106E8DE}" type="pres">
      <dgm:prSet presAssocID="{5CD9892F-2662-DF4C-92CB-ACBD3FC7AD7A}" presName="composite2" presStyleCnt="0"/>
      <dgm:spPr/>
    </dgm:pt>
    <dgm:pt modelId="{CA52B03C-E4D0-6E40-AD12-2B1C417AE65C}" type="pres">
      <dgm:prSet presAssocID="{5CD9892F-2662-DF4C-92CB-ACBD3FC7AD7A}" presName="background2" presStyleLbl="node2" presStyleIdx="1" presStyleCnt="2"/>
      <dgm:spPr/>
    </dgm:pt>
    <dgm:pt modelId="{F4A13141-FB55-AE49-B6C2-630D75AAB346}" type="pres">
      <dgm:prSet presAssocID="{5CD9892F-2662-DF4C-92CB-ACBD3FC7AD7A}" presName="text2" presStyleLbl="fgAcc2" presStyleIdx="1" presStyleCnt="2" custScaleX="216003">
        <dgm:presLayoutVars>
          <dgm:chPref val="3"/>
        </dgm:presLayoutVars>
      </dgm:prSet>
      <dgm:spPr/>
    </dgm:pt>
    <dgm:pt modelId="{4E152EA3-F8B0-7344-B73F-1F20F0DD421F}" type="pres">
      <dgm:prSet presAssocID="{5CD9892F-2662-DF4C-92CB-ACBD3FC7AD7A}" presName="hierChild3" presStyleCnt="0"/>
      <dgm:spPr/>
    </dgm:pt>
    <dgm:pt modelId="{9E9CE97F-DBED-C440-BA5E-C44394FED584}" type="pres">
      <dgm:prSet presAssocID="{F4C94070-7657-434E-B721-89C140455E67}" presName="Name17" presStyleLbl="parChTrans1D3" presStyleIdx="1" presStyleCnt="2"/>
      <dgm:spPr/>
    </dgm:pt>
    <dgm:pt modelId="{569482B3-7CA5-5F43-8287-AAAD37296C15}" type="pres">
      <dgm:prSet presAssocID="{32FEBE3E-C99F-9042-84B2-F4B1BDB488F4}" presName="hierRoot3" presStyleCnt="0"/>
      <dgm:spPr/>
    </dgm:pt>
    <dgm:pt modelId="{AF4D7CAA-750C-224B-B6EB-13205CE91777}" type="pres">
      <dgm:prSet presAssocID="{32FEBE3E-C99F-9042-84B2-F4B1BDB488F4}" presName="composite3" presStyleCnt="0"/>
      <dgm:spPr/>
    </dgm:pt>
    <dgm:pt modelId="{2CD18371-1A76-D040-99FC-93267A54B011}" type="pres">
      <dgm:prSet presAssocID="{32FEBE3E-C99F-9042-84B2-F4B1BDB488F4}" presName="background3" presStyleLbl="node3" presStyleIdx="1" presStyleCnt="2"/>
      <dgm:spPr/>
    </dgm:pt>
    <dgm:pt modelId="{BD6A7402-BD05-8744-B65D-44CB3289FB2F}" type="pres">
      <dgm:prSet presAssocID="{32FEBE3E-C99F-9042-84B2-F4B1BDB488F4}" presName="text3" presStyleLbl="fgAcc3" presStyleIdx="1" presStyleCnt="2" custScaleX="203531">
        <dgm:presLayoutVars>
          <dgm:chPref val="3"/>
        </dgm:presLayoutVars>
      </dgm:prSet>
      <dgm:spPr/>
    </dgm:pt>
    <dgm:pt modelId="{D616E6B1-6040-B340-B871-09FE64AACA32}" type="pres">
      <dgm:prSet presAssocID="{32FEBE3E-C99F-9042-84B2-F4B1BDB488F4}" presName="hierChild4" presStyleCnt="0"/>
      <dgm:spPr/>
    </dgm:pt>
    <dgm:pt modelId="{57E9452B-67F1-2A43-B452-AA2B7915AC32}" type="pres">
      <dgm:prSet presAssocID="{371C541F-F4C1-FC40-8ACB-F6B93275E86C}" presName="Name23" presStyleLbl="parChTrans1D4" presStyleIdx="0" presStyleCnt="1"/>
      <dgm:spPr/>
    </dgm:pt>
    <dgm:pt modelId="{95878287-A991-7A43-AF59-36A5706BB7D8}" type="pres">
      <dgm:prSet presAssocID="{37DA625C-FA82-944C-9056-4529D5DFFC42}" presName="hierRoot4" presStyleCnt="0"/>
      <dgm:spPr/>
    </dgm:pt>
    <dgm:pt modelId="{106C8553-0ECD-8246-9586-4F7A3EF638AE}" type="pres">
      <dgm:prSet presAssocID="{37DA625C-FA82-944C-9056-4529D5DFFC42}" presName="composite4" presStyleCnt="0"/>
      <dgm:spPr/>
    </dgm:pt>
    <dgm:pt modelId="{8CB1E452-C77D-8D4F-B5C9-0DFB641B5C28}" type="pres">
      <dgm:prSet presAssocID="{37DA625C-FA82-944C-9056-4529D5DFFC42}" presName="background4" presStyleLbl="node4" presStyleIdx="0" presStyleCnt="1"/>
      <dgm:spPr/>
    </dgm:pt>
    <dgm:pt modelId="{1E777667-8162-A247-BEF0-755D1692827A}" type="pres">
      <dgm:prSet presAssocID="{37DA625C-FA82-944C-9056-4529D5DFFC42}" presName="text4" presStyleLbl="fgAcc4" presStyleIdx="0" presStyleCnt="1" custScaleX="250989">
        <dgm:presLayoutVars>
          <dgm:chPref val="3"/>
        </dgm:presLayoutVars>
      </dgm:prSet>
      <dgm:spPr/>
    </dgm:pt>
    <dgm:pt modelId="{441FA5E7-CC1E-D544-8DA0-6CD4D98A9911}" type="pres">
      <dgm:prSet presAssocID="{37DA625C-FA82-944C-9056-4529D5DFFC42}" presName="hierChild5" presStyleCnt="0"/>
      <dgm:spPr/>
    </dgm:pt>
  </dgm:ptLst>
  <dgm:cxnLst>
    <dgm:cxn modelId="{4ACAE506-72D8-9B41-B6FC-36BBAB4F4C55}" srcId="{76C7D7F1-4B5C-614D-BAC5-A38849FF6D97}" destId="{5F94E587-7EA5-4F42-B574-C7148461BC25}" srcOrd="0" destOrd="0" parTransId="{FC081B48-B40C-7141-8506-3DDF66137201}" sibTransId="{7F085FA5-FC70-3440-89BD-4AF3E5C264E0}"/>
    <dgm:cxn modelId="{DA26BA11-9EFB-8A49-9D28-6084927FEEEF}" type="presOf" srcId="{A6A4DFBB-D5A6-F54F-8A45-626F96C37F1E}" destId="{32726103-D94F-9C41-9C60-A69D810735B7}" srcOrd="0" destOrd="0" presId="urn:microsoft.com/office/officeart/2005/8/layout/hierarchy1"/>
    <dgm:cxn modelId="{CB67DE38-5D28-504D-8CF2-30C270AA73CA}" type="presOf" srcId="{371C541F-F4C1-FC40-8ACB-F6B93275E86C}" destId="{57E9452B-67F1-2A43-B452-AA2B7915AC32}" srcOrd="0" destOrd="0" presId="urn:microsoft.com/office/officeart/2005/8/layout/hierarchy1"/>
    <dgm:cxn modelId="{0494255C-583A-E045-86EC-9AD931731B51}" srcId="{54C9A926-889F-8F48-9F4D-F28C8CB7A766}" destId="{5CD9892F-2662-DF4C-92CB-ACBD3FC7AD7A}" srcOrd="1" destOrd="0" parTransId="{8840C0D5-02F4-DB49-B20E-1A68BF878BB3}" sibTransId="{84114F01-182F-6342-8460-B6DB2EAB27EC}"/>
    <dgm:cxn modelId="{D5DC3344-2B9C-7243-81B7-C349EE08B80F}" type="presOf" srcId="{32FEBE3E-C99F-9042-84B2-F4B1BDB488F4}" destId="{BD6A7402-BD05-8744-B65D-44CB3289FB2F}" srcOrd="0" destOrd="0" presId="urn:microsoft.com/office/officeart/2005/8/layout/hierarchy1"/>
    <dgm:cxn modelId="{33A9086C-4DE9-5D45-9C4D-849E22CD6718}" type="presOf" srcId="{8840C0D5-02F4-DB49-B20E-1A68BF878BB3}" destId="{A0B5035B-0A47-8343-A482-F3AE43E08570}" srcOrd="0" destOrd="0" presId="urn:microsoft.com/office/officeart/2005/8/layout/hierarchy1"/>
    <dgm:cxn modelId="{698DA86D-7C57-0B4F-BFB0-0E44824922CD}" srcId="{5CD9892F-2662-DF4C-92CB-ACBD3FC7AD7A}" destId="{32FEBE3E-C99F-9042-84B2-F4B1BDB488F4}" srcOrd="0" destOrd="0" parTransId="{F4C94070-7657-434E-B721-89C140455E67}" sibTransId="{942195E6-DFC0-DC49-870D-21903A685356}"/>
    <dgm:cxn modelId="{D9247276-BD2C-C34A-BD5B-B86BD137BC79}" type="presOf" srcId="{FC081B48-B40C-7141-8506-3DDF66137201}" destId="{B6374AAC-B1DB-DA4A-B379-C760EC99BB44}" srcOrd="0" destOrd="0" presId="urn:microsoft.com/office/officeart/2005/8/layout/hierarchy1"/>
    <dgm:cxn modelId="{54A7AA92-188B-7F48-B510-FA695413206E}" type="presOf" srcId="{5CD9892F-2662-DF4C-92CB-ACBD3FC7AD7A}" destId="{F4A13141-FB55-AE49-B6C2-630D75AAB346}" srcOrd="0" destOrd="0" presId="urn:microsoft.com/office/officeart/2005/8/layout/hierarchy1"/>
    <dgm:cxn modelId="{813C849E-18F0-024C-AB01-2DB0235469B5}" srcId="{32FEBE3E-C99F-9042-84B2-F4B1BDB488F4}" destId="{37DA625C-FA82-944C-9056-4529D5DFFC42}" srcOrd="0" destOrd="0" parTransId="{371C541F-F4C1-FC40-8ACB-F6B93275E86C}" sibTransId="{2413B5BC-5949-1944-BB13-3C6EE5A8EFB5}"/>
    <dgm:cxn modelId="{F5C733A2-0262-E742-AB3D-8D2486DEA703}" type="presOf" srcId="{54C9A926-889F-8F48-9F4D-F28C8CB7A766}" destId="{E7BBE52F-F774-9443-B4B6-B145E47778C4}" srcOrd="0" destOrd="0" presId="urn:microsoft.com/office/officeart/2005/8/layout/hierarchy1"/>
    <dgm:cxn modelId="{F8E1E0AB-FA32-9A44-8CD7-97E3257DE98D}" type="presOf" srcId="{F4C94070-7657-434E-B721-89C140455E67}" destId="{9E9CE97F-DBED-C440-BA5E-C44394FED584}" srcOrd="0" destOrd="0" presId="urn:microsoft.com/office/officeart/2005/8/layout/hierarchy1"/>
    <dgm:cxn modelId="{E0EBF0AC-A6DE-974E-97CD-61090A747743}" type="presOf" srcId="{76C7D7F1-4B5C-614D-BAC5-A38849FF6D97}" destId="{BC30E663-2C9F-A947-A97F-76B453B5AA07}" srcOrd="0" destOrd="0" presId="urn:microsoft.com/office/officeart/2005/8/layout/hierarchy1"/>
    <dgm:cxn modelId="{8ECB95B9-51CF-344A-98FB-12CF3C5169A5}" srcId="{4B0CAFF9-1C0E-9045-8B38-F1365F4DC304}" destId="{54C9A926-889F-8F48-9F4D-F28C8CB7A766}" srcOrd="0" destOrd="0" parTransId="{FA1D37CF-C5BA-F946-801F-D2DFB7849729}" sibTransId="{FE45A18E-6621-AB4E-9F20-EC0421FA67FC}"/>
    <dgm:cxn modelId="{E017BAC9-63F4-DC4B-9695-7EB27FEA3FFF}" srcId="{54C9A926-889F-8F48-9F4D-F28C8CB7A766}" destId="{76C7D7F1-4B5C-614D-BAC5-A38849FF6D97}" srcOrd="0" destOrd="0" parTransId="{A6A4DFBB-D5A6-F54F-8A45-626F96C37F1E}" sibTransId="{F4E813F9-6315-0048-B9B0-53FB22C10E11}"/>
    <dgm:cxn modelId="{9CC396DA-181C-7143-A779-B59E942C38C9}" type="presOf" srcId="{5F94E587-7EA5-4F42-B574-C7148461BC25}" destId="{D8B66378-1275-AC47-AEAE-498898C74EC5}" srcOrd="0" destOrd="0" presId="urn:microsoft.com/office/officeart/2005/8/layout/hierarchy1"/>
    <dgm:cxn modelId="{1E1B51DF-37CC-4142-9DEA-1C7F8D1363FE}" type="presOf" srcId="{37DA625C-FA82-944C-9056-4529D5DFFC42}" destId="{1E777667-8162-A247-BEF0-755D1692827A}" srcOrd="0" destOrd="0" presId="urn:microsoft.com/office/officeart/2005/8/layout/hierarchy1"/>
    <dgm:cxn modelId="{F753B8F0-E68E-4640-9262-0D3AE515F4F1}" type="presOf" srcId="{4B0CAFF9-1C0E-9045-8B38-F1365F4DC304}" destId="{F471EB25-650C-B54B-8457-7EB7B2AD81AF}" srcOrd="0" destOrd="0" presId="urn:microsoft.com/office/officeart/2005/8/layout/hierarchy1"/>
    <dgm:cxn modelId="{E570F5A6-8184-F74E-B63C-9C3359959F0A}" type="presParOf" srcId="{F471EB25-650C-B54B-8457-7EB7B2AD81AF}" destId="{49E968A8-1C73-AA4F-BE8A-50EC4809A9E7}" srcOrd="0" destOrd="0" presId="urn:microsoft.com/office/officeart/2005/8/layout/hierarchy1"/>
    <dgm:cxn modelId="{2ED2A9C4-AAA3-A345-B1AF-A9F0E0EC9636}" type="presParOf" srcId="{49E968A8-1C73-AA4F-BE8A-50EC4809A9E7}" destId="{86411ADF-3062-9049-81F0-76EBBECA25F0}" srcOrd="0" destOrd="0" presId="urn:microsoft.com/office/officeart/2005/8/layout/hierarchy1"/>
    <dgm:cxn modelId="{1FD9FACF-C09B-3042-9A93-8902B95376B4}" type="presParOf" srcId="{86411ADF-3062-9049-81F0-76EBBECA25F0}" destId="{A93E7E51-A6FC-5647-8535-3A949C5A337F}" srcOrd="0" destOrd="0" presId="urn:microsoft.com/office/officeart/2005/8/layout/hierarchy1"/>
    <dgm:cxn modelId="{621871B4-E75D-D941-89CA-9736AB88EE97}" type="presParOf" srcId="{86411ADF-3062-9049-81F0-76EBBECA25F0}" destId="{E7BBE52F-F774-9443-B4B6-B145E47778C4}" srcOrd="1" destOrd="0" presId="urn:microsoft.com/office/officeart/2005/8/layout/hierarchy1"/>
    <dgm:cxn modelId="{66252DDC-802D-A344-B747-49826C95C64E}" type="presParOf" srcId="{49E968A8-1C73-AA4F-BE8A-50EC4809A9E7}" destId="{C0B69DA7-3F42-1549-8769-C504DE1C8A42}" srcOrd="1" destOrd="0" presId="urn:microsoft.com/office/officeart/2005/8/layout/hierarchy1"/>
    <dgm:cxn modelId="{3EC85AFC-78A5-0C49-A1B3-1EE7D202B585}" type="presParOf" srcId="{C0B69DA7-3F42-1549-8769-C504DE1C8A42}" destId="{32726103-D94F-9C41-9C60-A69D810735B7}" srcOrd="0" destOrd="0" presId="urn:microsoft.com/office/officeart/2005/8/layout/hierarchy1"/>
    <dgm:cxn modelId="{BC599584-268F-8A4A-A52F-2481F8CAA0D6}" type="presParOf" srcId="{C0B69DA7-3F42-1549-8769-C504DE1C8A42}" destId="{4C9DE4F1-40B9-9E45-9350-19823ADE338D}" srcOrd="1" destOrd="0" presId="urn:microsoft.com/office/officeart/2005/8/layout/hierarchy1"/>
    <dgm:cxn modelId="{1CB1896E-397E-6447-B1A8-81AD7FA0D1B3}" type="presParOf" srcId="{4C9DE4F1-40B9-9E45-9350-19823ADE338D}" destId="{FA3A5EE2-5207-F746-BE57-5614DED7AE1D}" srcOrd="0" destOrd="0" presId="urn:microsoft.com/office/officeart/2005/8/layout/hierarchy1"/>
    <dgm:cxn modelId="{73547805-6F5E-5146-AF49-99A9C1E0FFB8}" type="presParOf" srcId="{FA3A5EE2-5207-F746-BE57-5614DED7AE1D}" destId="{F0C9696F-1018-FD40-8C02-643D940A4509}" srcOrd="0" destOrd="0" presId="urn:microsoft.com/office/officeart/2005/8/layout/hierarchy1"/>
    <dgm:cxn modelId="{DE7E4D14-A752-6A45-8FE8-F75D307636D2}" type="presParOf" srcId="{FA3A5EE2-5207-F746-BE57-5614DED7AE1D}" destId="{BC30E663-2C9F-A947-A97F-76B453B5AA07}" srcOrd="1" destOrd="0" presId="urn:microsoft.com/office/officeart/2005/8/layout/hierarchy1"/>
    <dgm:cxn modelId="{76DFC8E6-A2BD-4B42-BF66-3311DA2D03AE}" type="presParOf" srcId="{4C9DE4F1-40B9-9E45-9350-19823ADE338D}" destId="{D4E598C3-BB45-9844-99A3-6601FDEF3976}" srcOrd="1" destOrd="0" presId="urn:microsoft.com/office/officeart/2005/8/layout/hierarchy1"/>
    <dgm:cxn modelId="{9CBFA4F2-D1DB-1741-A220-4EE7265274EA}" type="presParOf" srcId="{D4E598C3-BB45-9844-99A3-6601FDEF3976}" destId="{B6374AAC-B1DB-DA4A-B379-C760EC99BB44}" srcOrd="0" destOrd="0" presId="urn:microsoft.com/office/officeart/2005/8/layout/hierarchy1"/>
    <dgm:cxn modelId="{7FE4BA5B-A82D-F746-930D-5C6743EF9A58}" type="presParOf" srcId="{D4E598C3-BB45-9844-99A3-6601FDEF3976}" destId="{6FECA1CC-B433-A544-B82A-5E0591B7DD9D}" srcOrd="1" destOrd="0" presId="urn:microsoft.com/office/officeart/2005/8/layout/hierarchy1"/>
    <dgm:cxn modelId="{ECF11C6B-B773-6C4A-B591-C2DFE3C29858}" type="presParOf" srcId="{6FECA1CC-B433-A544-B82A-5E0591B7DD9D}" destId="{0198C9C3-0421-394D-91EA-26E570CE0B3A}" srcOrd="0" destOrd="0" presId="urn:microsoft.com/office/officeart/2005/8/layout/hierarchy1"/>
    <dgm:cxn modelId="{81A45640-5B89-3042-809D-C8594AAC73D3}" type="presParOf" srcId="{0198C9C3-0421-394D-91EA-26E570CE0B3A}" destId="{D445CAD1-8AB5-D546-9645-271308AC359F}" srcOrd="0" destOrd="0" presId="urn:microsoft.com/office/officeart/2005/8/layout/hierarchy1"/>
    <dgm:cxn modelId="{99943ABC-71F5-8441-97A4-FE6FDC20FCDC}" type="presParOf" srcId="{0198C9C3-0421-394D-91EA-26E570CE0B3A}" destId="{D8B66378-1275-AC47-AEAE-498898C74EC5}" srcOrd="1" destOrd="0" presId="urn:microsoft.com/office/officeart/2005/8/layout/hierarchy1"/>
    <dgm:cxn modelId="{E1E2E9F9-0E29-CF43-930B-0127E876E1F5}" type="presParOf" srcId="{6FECA1CC-B433-A544-B82A-5E0591B7DD9D}" destId="{FC0A1B6D-9968-464F-B8C1-396A80C290D4}" srcOrd="1" destOrd="0" presId="urn:microsoft.com/office/officeart/2005/8/layout/hierarchy1"/>
    <dgm:cxn modelId="{1E35D534-97EA-C841-A0CF-1426AF581BFA}" type="presParOf" srcId="{C0B69DA7-3F42-1549-8769-C504DE1C8A42}" destId="{A0B5035B-0A47-8343-A482-F3AE43E08570}" srcOrd="2" destOrd="0" presId="urn:microsoft.com/office/officeart/2005/8/layout/hierarchy1"/>
    <dgm:cxn modelId="{906260A1-6695-5046-82DB-7A3B50483160}" type="presParOf" srcId="{C0B69DA7-3F42-1549-8769-C504DE1C8A42}" destId="{90BE5FA1-8D44-904A-80B9-4044F35DBF45}" srcOrd="3" destOrd="0" presId="urn:microsoft.com/office/officeart/2005/8/layout/hierarchy1"/>
    <dgm:cxn modelId="{5C7EA220-82A4-F141-B83E-C2089449B19F}" type="presParOf" srcId="{90BE5FA1-8D44-904A-80B9-4044F35DBF45}" destId="{431B6409-A01E-C448-8620-FB845106E8DE}" srcOrd="0" destOrd="0" presId="urn:microsoft.com/office/officeart/2005/8/layout/hierarchy1"/>
    <dgm:cxn modelId="{01DCF646-068D-6449-9E06-650AD37ABB43}" type="presParOf" srcId="{431B6409-A01E-C448-8620-FB845106E8DE}" destId="{CA52B03C-E4D0-6E40-AD12-2B1C417AE65C}" srcOrd="0" destOrd="0" presId="urn:microsoft.com/office/officeart/2005/8/layout/hierarchy1"/>
    <dgm:cxn modelId="{3B22B44E-179D-124D-A3FD-565EE6FEF2DD}" type="presParOf" srcId="{431B6409-A01E-C448-8620-FB845106E8DE}" destId="{F4A13141-FB55-AE49-B6C2-630D75AAB346}" srcOrd="1" destOrd="0" presId="urn:microsoft.com/office/officeart/2005/8/layout/hierarchy1"/>
    <dgm:cxn modelId="{B64BD033-B0CF-F74E-AA27-A8841BDF78F7}" type="presParOf" srcId="{90BE5FA1-8D44-904A-80B9-4044F35DBF45}" destId="{4E152EA3-F8B0-7344-B73F-1F20F0DD421F}" srcOrd="1" destOrd="0" presId="urn:microsoft.com/office/officeart/2005/8/layout/hierarchy1"/>
    <dgm:cxn modelId="{185DE3FC-67C5-E943-911D-AE1215BB3D43}" type="presParOf" srcId="{4E152EA3-F8B0-7344-B73F-1F20F0DD421F}" destId="{9E9CE97F-DBED-C440-BA5E-C44394FED584}" srcOrd="0" destOrd="0" presId="urn:microsoft.com/office/officeart/2005/8/layout/hierarchy1"/>
    <dgm:cxn modelId="{4D9DB317-79FA-4044-AE97-A4AE3D6B978E}" type="presParOf" srcId="{4E152EA3-F8B0-7344-B73F-1F20F0DD421F}" destId="{569482B3-7CA5-5F43-8287-AAAD37296C15}" srcOrd="1" destOrd="0" presId="urn:microsoft.com/office/officeart/2005/8/layout/hierarchy1"/>
    <dgm:cxn modelId="{481D4873-DB25-024A-BBF0-119EE7F38185}" type="presParOf" srcId="{569482B3-7CA5-5F43-8287-AAAD37296C15}" destId="{AF4D7CAA-750C-224B-B6EB-13205CE91777}" srcOrd="0" destOrd="0" presId="urn:microsoft.com/office/officeart/2005/8/layout/hierarchy1"/>
    <dgm:cxn modelId="{9758676D-1C6B-7449-ADEE-93FBE9EA2C84}" type="presParOf" srcId="{AF4D7CAA-750C-224B-B6EB-13205CE91777}" destId="{2CD18371-1A76-D040-99FC-93267A54B011}" srcOrd="0" destOrd="0" presId="urn:microsoft.com/office/officeart/2005/8/layout/hierarchy1"/>
    <dgm:cxn modelId="{2D31AA25-B1DD-6747-A8C4-789C3AB1A056}" type="presParOf" srcId="{AF4D7CAA-750C-224B-B6EB-13205CE91777}" destId="{BD6A7402-BD05-8744-B65D-44CB3289FB2F}" srcOrd="1" destOrd="0" presId="urn:microsoft.com/office/officeart/2005/8/layout/hierarchy1"/>
    <dgm:cxn modelId="{FEC79583-9CEC-224A-891F-17A917D3E03F}" type="presParOf" srcId="{569482B3-7CA5-5F43-8287-AAAD37296C15}" destId="{D616E6B1-6040-B340-B871-09FE64AACA32}" srcOrd="1" destOrd="0" presId="urn:microsoft.com/office/officeart/2005/8/layout/hierarchy1"/>
    <dgm:cxn modelId="{E68E9F0D-6F54-CF43-BDA1-D99A08D01D73}" type="presParOf" srcId="{D616E6B1-6040-B340-B871-09FE64AACA32}" destId="{57E9452B-67F1-2A43-B452-AA2B7915AC32}" srcOrd="0" destOrd="0" presId="urn:microsoft.com/office/officeart/2005/8/layout/hierarchy1"/>
    <dgm:cxn modelId="{7BF25190-4A63-C540-9253-53E872B06BC9}" type="presParOf" srcId="{D616E6B1-6040-B340-B871-09FE64AACA32}" destId="{95878287-A991-7A43-AF59-36A5706BB7D8}" srcOrd="1" destOrd="0" presId="urn:microsoft.com/office/officeart/2005/8/layout/hierarchy1"/>
    <dgm:cxn modelId="{141584AF-EF3B-DF49-B7F0-51D11711F937}" type="presParOf" srcId="{95878287-A991-7A43-AF59-36A5706BB7D8}" destId="{106C8553-0ECD-8246-9586-4F7A3EF638AE}" srcOrd="0" destOrd="0" presId="urn:microsoft.com/office/officeart/2005/8/layout/hierarchy1"/>
    <dgm:cxn modelId="{74EED878-42A4-E549-89EC-840387279573}" type="presParOf" srcId="{106C8553-0ECD-8246-9586-4F7A3EF638AE}" destId="{8CB1E452-C77D-8D4F-B5C9-0DFB641B5C28}" srcOrd="0" destOrd="0" presId="urn:microsoft.com/office/officeart/2005/8/layout/hierarchy1"/>
    <dgm:cxn modelId="{4D367896-0326-4D4D-A402-F3BD89B9C902}" type="presParOf" srcId="{106C8553-0ECD-8246-9586-4F7A3EF638AE}" destId="{1E777667-8162-A247-BEF0-755D1692827A}" srcOrd="1" destOrd="0" presId="urn:microsoft.com/office/officeart/2005/8/layout/hierarchy1"/>
    <dgm:cxn modelId="{DE200308-0E76-9A45-9538-18C1C9EC1FF1}" type="presParOf" srcId="{95878287-A991-7A43-AF59-36A5706BB7D8}" destId="{441FA5E7-CC1E-D544-8DA0-6CD4D98A9911}" srcOrd="1" destOrd="0" presId="urn:microsoft.com/office/officeart/2005/8/layout/hierarchy1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39B068B-16D4-1D49-ABEE-D57B1961D239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ED66396-6C99-144D-9DA4-2DFADB557F36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Mục</a:t>
          </a:r>
          <a:r>
            <a:rPr lang="en-GB" sz="24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đích</a:t>
          </a:r>
          <a:endParaRPr lang="en-GB" sz="2400" dirty="0">
            <a:solidFill>
              <a:srgbClr val="FF0000"/>
            </a:solidFill>
            <a:latin typeface="Times New Roman" pitchFamily="18" charset="0"/>
            <a:cs typeface="Times New Roman" pitchFamily="18" charset="0"/>
          </a:endParaRP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ố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ô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ơ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ả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ă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iể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ầy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ủ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ấ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ề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ă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â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ầ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ô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(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ì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ộ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)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ộ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ồ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ã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ộ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gm:t>
    </dgm:pt>
    <dgm:pt modelId="{FDB35FAF-D1F3-9F42-8F2C-B0C08E489263}" type="parTrans" cxnId="{D16B0A61-36FE-4D42-B6A9-D26483469B12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6D694A00-1269-3D49-85F3-CE7ACA6458E7}" type="sibTrans" cxnId="{D16B0A61-36FE-4D42-B6A9-D26483469B12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2C2CC5FD-BF3D-6940-AAF3-95A6852E4B69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ụ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ê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1- </a:t>
          </a:r>
          <a:r>
            <a:rPr lang="en-GB" sz="2400" b="1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rPr>
            <a:t>CHĂM SÓC</a:t>
          </a: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ố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ô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ơ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áp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ứ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ổ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ị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ố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ấ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ự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oá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ớ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gm:t>
    </dgm:pt>
    <dgm:pt modelId="{646CC279-E8FF-E640-B15A-E590819E77A3}" type="parTrans" cxnId="{20DF1F50-7FE8-7A45-8FE3-934CF2B3A901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DB777FD2-9D11-5947-B7C2-03D5C640519D}" type="sibTrans" cxnId="{20DF1F50-7FE8-7A45-8FE3-934CF2B3A901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38D20D3C-C63B-7D46-8498-5389F1857688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ụ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ê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2 – </a:t>
          </a:r>
          <a:r>
            <a:rPr lang="en-GB" sz="2400" b="1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rPr>
            <a:t>AN TOÀN</a:t>
          </a: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ố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ô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ơ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ấy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an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oà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ắ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ắ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ằ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ô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ày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ể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ệ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gm:t>
    </dgm:pt>
    <dgm:pt modelId="{0B39E0D3-7691-FF43-9596-547424367D15}" type="parTrans" cxnId="{4C8EBF03-3068-8E44-854E-95A3556F0A03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A4BE242E-B038-EF4E-9E54-5B0B5D585C71}" type="sibTrans" cxnId="{4C8EBF03-3068-8E44-854E-95A3556F0A03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5D1CCF52-4A6F-6D43-9573-33F8E02855B3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ụ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ê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3 – </a:t>
          </a:r>
          <a:r>
            <a:rPr lang="en-GB" sz="2400" b="1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rPr>
            <a:t>BẢO VỆ</a:t>
          </a: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ố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ô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ơ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ấy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ế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ấ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ỳ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ố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uy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iể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ào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ảy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ì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ọ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ô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ó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ẽ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ă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ặ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ệ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ỏ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ố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uy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iể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ó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gm:t>
    </dgm:pt>
    <dgm:pt modelId="{232B7732-52F0-4049-B1A1-E19CA201CE03}" type="parTrans" cxnId="{B40FAA42-E6FD-A445-8234-0833C2F36049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AC7228E7-D7D5-C647-BFE8-A3A422277EED}" type="sibTrans" cxnId="{B40FAA42-E6FD-A445-8234-0833C2F36049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7494D2AD-7774-4A45-9EA4-9B3091393BC0}" type="pres">
      <dgm:prSet presAssocID="{039B068B-16D4-1D49-ABEE-D57B1961D23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C354B997-2939-1341-8DCC-1E7A4A462387}" type="pres">
      <dgm:prSet presAssocID="{6ED66396-6C99-144D-9DA4-2DFADB557F36}" presName="hierRoot1" presStyleCnt="0">
        <dgm:presLayoutVars>
          <dgm:hierBranch val="init"/>
        </dgm:presLayoutVars>
      </dgm:prSet>
      <dgm:spPr/>
    </dgm:pt>
    <dgm:pt modelId="{D484E633-3A43-094F-9BDE-F045289E8261}" type="pres">
      <dgm:prSet presAssocID="{6ED66396-6C99-144D-9DA4-2DFADB557F36}" presName="rootComposite1" presStyleCnt="0"/>
      <dgm:spPr/>
    </dgm:pt>
    <dgm:pt modelId="{6082D6A5-68B7-B446-B148-064BA9B1C4F3}" type="pres">
      <dgm:prSet presAssocID="{6ED66396-6C99-144D-9DA4-2DFADB557F36}" presName="rootText1" presStyleLbl="node0" presStyleIdx="0" presStyleCnt="1" custScaleX="248475" custLinFactNeighborX="-3718" custLinFactNeighborY="-59486">
        <dgm:presLayoutVars>
          <dgm:chPref val="3"/>
        </dgm:presLayoutVars>
      </dgm:prSet>
      <dgm:spPr/>
    </dgm:pt>
    <dgm:pt modelId="{CA8452DD-A978-9C4F-960C-9A51FC333B69}" type="pres">
      <dgm:prSet presAssocID="{6ED66396-6C99-144D-9DA4-2DFADB557F36}" presName="rootConnector1" presStyleLbl="node1" presStyleIdx="0" presStyleCnt="0"/>
      <dgm:spPr/>
    </dgm:pt>
    <dgm:pt modelId="{9D99BFC8-4213-B047-B231-7FECE8EF9BD2}" type="pres">
      <dgm:prSet presAssocID="{6ED66396-6C99-144D-9DA4-2DFADB557F36}" presName="hierChild2" presStyleCnt="0"/>
      <dgm:spPr/>
    </dgm:pt>
    <dgm:pt modelId="{FF2F631A-04CC-7F4E-ACD4-816EDC656AC2}" type="pres">
      <dgm:prSet presAssocID="{646CC279-E8FF-E640-B15A-E590819E77A3}" presName="Name37" presStyleLbl="parChTrans1D2" presStyleIdx="0" presStyleCnt="3"/>
      <dgm:spPr/>
    </dgm:pt>
    <dgm:pt modelId="{C173DBC3-41AE-CC42-B173-E6A29A944433}" type="pres">
      <dgm:prSet presAssocID="{2C2CC5FD-BF3D-6940-AAF3-95A6852E4B69}" presName="hierRoot2" presStyleCnt="0">
        <dgm:presLayoutVars>
          <dgm:hierBranch val="init"/>
        </dgm:presLayoutVars>
      </dgm:prSet>
      <dgm:spPr/>
    </dgm:pt>
    <dgm:pt modelId="{DB50BE1C-1771-8E40-ABAA-05BB9C38754E}" type="pres">
      <dgm:prSet presAssocID="{2C2CC5FD-BF3D-6940-AAF3-95A6852E4B69}" presName="rootComposite" presStyleCnt="0"/>
      <dgm:spPr/>
    </dgm:pt>
    <dgm:pt modelId="{2F445620-C777-D644-AB4E-2613AE8AE8EC}" type="pres">
      <dgm:prSet presAssocID="{2C2CC5FD-BF3D-6940-AAF3-95A6852E4B69}" presName="rootText" presStyleLbl="node2" presStyleIdx="0" presStyleCnt="3" custScaleY="165225">
        <dgm:presLayoutVars>
          <dgm:chPref val="3"/>
        </dgm:presLayoutVars>
      </dgm:prSet>
      <dgm:spPr/>
    </dgm:pt>
    <dgm:pt modelId="{C0C53125-54C8-8D42-BF0D-998AE680E6B7}" type="pres">
      <dgm:prSet presAssocID="{2C2CC5FD-BF3D-6940-AAF3-95A6852E4B69}" presName="rootConnector" presStyleLbl="node2" presStyleIdx="0" presStyleCnt="3"/>
      <dgm:spPr/>
    </dgm:pt>
    <dgm:pt modelId="{0ECC14C1-7A41-E744-89CA-75D08995E214}" type="pres">
      <dgm:prSet presAssocID="{2C2CC5FD-BF3D-6940-AAF3-95A6852E4B69}" presName="hierChild4" presStyleCnt="0"/>
      <dgm:spPr/>
    </dgm:pt>
    <dgm:pt modelId="{14CB04A9-D2B9-DB4B-9A2C-C8670244D9B8}" type="pres">
      <dgm:prSet presAssocID="{2C2CC5FD-BF3D-6940-AAF3-95A6852E4B69}" presName="hierChild5" presStyleCnt="0"/>
      <dgm:spPr/>
    </dgm:pt>
    <dgm:pt modelId="{771D91E9-33DD-BA42-A30A-78B442DE27E6}" type="pres">
      <dgm:prSet presAssocID="{0B39E0D3-7691-FF43-9596-547424367D15}" presName="Name37" presStyleLbl="parChTrans1D2" presStyleIdx="1" presStyleCnt="3"/>
      <dgm:spPr/>
    </dgm:pt>
    <dgm:pt modelId="{1AE9A0D3-67DA-C246-BE0E-E5B46FD4A1C9}" type="pres">
      <dgm:prSet presAssocID="{38D20D3C-C63B-7D46-8498-5389F1857688}" presName="hierRoot2" presStyleCnt="0">
        <dgm:presLayoutVars>
          <dgm:hierBranch val="init"/>
        </dgm:presLayoutVars>
      </dgm:prSet>
      <dgm:spPr/>
    </dgm:pt>
    <dgm:pt modelId="{E5AAB8CD-C8D3-F241-A65E-9B776C7380F2}" type="pres">
      <dgm:prSet presAssocID="{38D20D3C-C63B-7D46-8498-5389F1857688}" presName="rootComposite" presStyleCnt="0"/>
      <dgm:spPr/>
    </dgm:pt>
    <dgm:pt modelId="{360018CA-CCC9-944B-8C98-159A0A7EC697}" type="pres">
      <dgm:prSet presAssocID="{38D20D3C-C63B-7D46-8498-5389F1857688}" presName="rootText" presStyleLbl="node2" presStyleIdx="1" presStyleCnt="3" custScaleY="163503">
        <dgm:presLayoutVars>
          <dgm:chPref val="3"/>
        </dgm:presLayoutVars>
      </dgm:prSet>
      <dgm:spPr/>
    </dgm:pt>
    <dgm:pt modelId="{F8D9BC7C-2CEE-0143-931C-BA9790F650A0}" type="pres">
      <dgm:prSet presAssocID="{38D20D3C-C63B-7D46-8498-5389F1857688}" presName="rootConnector" presStyleLbl="node2" presStyleIdx="1" presStyleCnt="3"/>
      <dgm:spPr/>
    </dgm:pt>
    <dgm:pt modelId="{B277C1C1-6203-264B-B960-06D5824B759A}" type="pres">
      <dgm:prSet presAssocID="{38D20D3C-C63B-7D46-8498-5389F1857688}" presName="hierChild4" presStyleCnt="0"/>
      <dgm:spPr/>
    </dgm:pt>
    <dgm:pt modelId="{4FD5CE20-AEE4-3444-979E-8067463F9E93}" type="pres">
      <dgm:prSet presAssocID="{38D20D3C-C63B-7D46-8498-5389F1857688}" presName="hierChild5" presStyleCnt="0"/>
      <dgm:spPr/>
    </dgm:pt>
    <dgm:pt modelId="{F48960DF-01E9-5247-A81C-9B4A0E974335}" type="pres">
      <dgm:prSet presAssocID="{232B7732-52F0-4049-B1A1-E19CA201CE03}" presName="Name37" presStyleLbl="parChTrans1D2" presStyleIdx="2" presStyleCnt="3"/>
      <dgm:spPr/>
    </dgm:pt>
    <dgm:pt modelId="{4CAFBD03-887D-8C46-A9DA-4A17D14B1099}" type="pres">
      <dgm:prSet presAssocID="{5D1CCF52-4A6F-6D43-9573-33F8E02855B3}" presName="hierRoot2" presStyleCnt="0">
        <dgm:presLayoutVars>
          <dgm:hierBranch val="init"/>
        </dgm:presLayoutVars>
      </dgm:prSet>
      <dgm:spPr/>
    </dgm:pt>
    <dgm:pt modelId="{48C8F853-5B7F-F14F-ACBE-1FE588D9E3C3}" type="pres">
      <dgm:prSet presAssocID="{5D1CCF52-4A6F-6D43-9573-33F8E02855B3}" presName="rootComposite" presStyleCnt="0"/>
      <dgm:spPr/>
    </dgm:pt>
    <dgm:pt modelId="{43BFBF23-A612-534D-BC93-011BE2177425}" type="pres">
      <dgm:prSet presAssocID="{5D1CCF52-4A6F-6D43-9573-33F8E02855B3}" presName="rootText" presStyleLbl="node2" presStyleIdx="2" presStyleCnt="3" custScaleY="177377">
        <dgm:presLayoutVars>
          <dgm:chPref val="3"/>
        </dgm:presLayoutVars>
      </dgm:prSet>
      <dgm:spPr/>
    </dgm:pt>
    <dgm:pt modelId="{856653AE-567F-6C4D-A8AB-D3EE95C6B4AD}" type="pres">
      <dgm:prSet presAssocID="{5D1CCF52-4A6F-6D43-9573-33F8E02855B3}" presName="rootConnector" presStyleLbl="node2" presStyleIdx="2" presStyleCnt="3"/>
      <dgm:spPr/>
    </dgm:pt>
    <dgm:pt modelId="{070B8381-9900-C74A-A69D-D5CD876360CC}" type="pres">
      <dgm:prSet presAssocID="{5D1CCF52-4A6F-6D43-9573-33F8E02855B3}" presName="hierChild4" presStyleCnt="0"/>
      <dgm:spPr/>
    </dgm:pt>
    <dgm:pt modelId="{AA24D185-8740-2047-B2B0-8CE1CA0A121C}" type="pres">
      <dgm:prSet presAssocID="{5D1CCF52-4A6F-6D43-9573-33F8E02855B3}" presName="hierChild5" presStyleCnt="0"/>
      <dgm:spPr/>
    </dgm:pt>
    <dgm:pt modelId="{9E49063A-B781-3144-8535-936197A528F8}" type="pres">
      <dgm:prSet presAssocID="{6ED66396-6C99-144D-9DA4-2DFADB557F36}" presName="hierChild3" presStyleCnt="0"/>
      <dgm:spPr/>
    </dgm:pt>
  </dgm:ptLst>
  <dgm:cxnLst>
    <dgm:cxn modelId="{4C8EBF03-3068-8E44-854E-95A3556F0A03}" srcId="{6ED66396-6C99-144D-9DA4-2DFADB557F36}" destId="{38D20D3C-C63B-7D46-8498-5389F1857688}" srcOrd="1" destOrd="0" parTransId="{0B39E0D3-7691-FF43-9596-547424367D15}" sibTransId="{A4BE242E-B038-EF4E-9E54-5B0B5D585C71}"/>
    <dgm:cxn modelId="{ABBDCC29-0A94-4A66-A480-6D5FEC723AE9}" type="presOf" srcId="{38D20D3C-C63B-7D46-8498-5389F1857688}" destId="{F8D9BC7C-2CEE-0143-931C-BA9790F650A0}" srcOrd="1" destOrd="0" presId="urn:microsoft.com/office/officeart/2005/8/layout/orgChart1"/>
    <dgm:cxn modelId="{2D47BD32-0C0A-4DFE-B22C-7EC9BD0025FC}" type="presOf" srcId="{5D1CCF52-4A6F-6D43-9573-33F8E02855B3}" destId="{856653AE-567F-6C4D-A8AB-D3EE95C6B4AD}" srcOrd="1" destOrd="0" presId="urn:microsoft.com/office/officeart/2005/8/layout/orgChart1"/>
    <dgm:cxn modelId="{45274636-6D27-4D61-BB22-2D4B89C37069}" type="presOf" srcId="{5D1CCF52-4A6F-6D43-9573-33F8E02855B3}" destId="{43BFBF23-A612-534D-BC93-011BE2177425}" srcOrd="0" destOrd="0" presId="urn:microsoft.com/office/officeart/2005/8/layout/orgChart1"/>
    <dgm:cxn modelId="{1DDFDD3B-31C1-4FDA-8FF8-2A1D71BFC1E2}" type="presOf" srcId="{039B068B-16D4-1D49-ABEE-D57B1961D239}" destId="{7494D2AD-7774-4A45-9EA4-9B3091393BC0}" srcOrd="0" destOrd="0" presId="urn:microsoft.com/office/officeart/2005/8/layout/orgChart1"/>
    <dgm:cxn modelId="{C1F69A3E-F3CE-4F00-B62F-D8E080FA6CCA}" type="presOf" srcId="{646CC279-E8FF-E640-B15A-E590819E77A3}" destId="{FF2F631A-04CC-7F4E-ACD4-816EDC656AC2}" srcOrd="0" destOrd="0" presId="urn:microsoft.com/office/officeart/2005/8/layout/orgChart1"/>
    <dgm:cxn modelId="{D16B0A61-36FE-4D42-B6A9-D26483469B12}" srcId="{039B068B-16D4-1D49-ABEE-D57B1961D239}" destId="{6ED66396-6C99-144D-9DA4-2DFADB557F36}" srcOrd="0" destOrd="0" parTransId="{FDB35FAF-D1F3-9F42-8F2C-B0C08E489263}" sibTransId="{6D694A00-1269-3D49-85F3-CE7ACA6458E7}"/>
    <dgm:cxn modelId="{B40FAA42-E6FD-A445-8234-0833C2F36049}" srcId="{6ED66396-6C99-144D-9DA4-2DFADB557F36}" destId="{5D1CCF52-4A6F-6D43-9573-33F8E02855B3}" srcOrd="2" destOrd="0" parTransId="{232B7732-52F0-4049-B1A1-E19CA201CE03}" sibTransId="{AC7228E7-D7D5-C647-BFE8-A3A422277EED}"/>
    <dgm:cxn modelId="{CB5B6B64-7BFE-44FD-B388-B2EE449D6C4E}" type="presOf" srcId="{38D20D3C-C63B-7D46-8498-5389F1857688}" destId="{360018CA-CCC9-944B-8C98-159A0A7EC697}" srcOrd="0" destOrd="0" presId="urn:microsoft.com/office/officeart/2005/8/layout/orgChart1"/>
    <dgm:cxn modelId="{5382FF6F-BEE5-4C65-8D19-44EF7D3685DF}" type="presOf" srcId="{232B7732-52F0-4049-B1A1-E19CA201CE03}" destId="{F48960DF-01E9-5247-A81C-9B4A0E974335}" srcOrd="0" destOrd="0" presId="urn:microsoft.com/office/officeart/2005/8/layout/orgChart1"/>
    <dgm:cxn modelId="{20DF1F50-7FE8-7A45-8FE3-934CF2B3A901}" srcId="{6ED66396-6C99-144D-9DA4-2DFADB557F36}" destId="{2C2CC5FD-BF3D-6940-AAF3-95A6852E4B69}" srcOrd="0" destOrd="0" parTransId="{646CC279-E8FF-E640-B15A-E590819E77A3}" sibTransId="{DB777FD2-9D11-5947-B7C2-03D5C640519D}"/>
    <dgm:cxn modelId="{1EAEECA2-6C31-4F2A-8D6E-AD32D2CACE72}" type="presOf" srcId="{6ED66396-6C99-144D-9DA4-2DFADB557F36}" destId="{CA8452DD-A978-9C4F-960C-9A51FC333B69}" srcOrd="1" destOrd="0" presId="urn:microsoft.com/office/officeart/2005/8/layout/orgChart1"/>
    <dgm:cxn modelId="{4D1492A5-B336-486C-A89D-088B0B2D990E}" type="presOf" srcId="{0B39E0D3-7691-FF43-9596-547424367D15}" destId="{771D91E9-33DD-BA42-A30A-78B442DE27E6}" srcOrd="0" destOrd="0" presId="urn:microsoft.com/office/officeart/2005/8/layout/orgChart1"/>
    <dgm:cxn modelId="{20ED25BC-4295-4AC8-9FCF-6CE58ABD36E9}" type="presOf" srcId="{2C2CC5FD-BF3D-6940-AAF3-95A6852E4B69}" destId="{C0C53125-54C8-8D42-BF0D-998AE680E6B7}" srcOrd="1" destOrd="0" presId="urn:microsoft.com/office/officeart/2005/8/layout/orgChart1"/>
    <dgm:cxn modelId="{5C58B7E8-83F2-41BB-8258-948583067D17}" type="presOf" srcId="{2C2CC5FD-BF3D-6940-AAF3-95A6852E4B69}" destId="{2F445620-C777-D644-AB4E-2613AE8AE8EC}" srcOrd="0" destOrd="0" presId="urn:microsoft.com/office/officeart/2005/8/layout/orgChart1"/>
    <dgm:cxn modelId="{AE5ACFFD-937E-4FC6-8DBA-4A6FB48DC820}" type="presOf" srcId="{6ED66396-6C99-144D-9DA4-2DFADB557F36}" destId="{6082D6A5-68B7-B446-B148-064BA9B1C4F3}" srcOrd="0" destOrd="0" presId="urn:microsoft.com/office/officeart/2005/8/layout/orgChart1"/>
    <dgm:cxn modelId="{0FB0D8B3-008A-4360-BDE7-94E8819BF3CD}" type="presParOf" srcId="{7494D2AD-7774-4A45-9EA4-9B3091393BC0}" destId="{C354B997-2939-1341-8DCC-1E7A4A462387}" srcOrd="0" destOrd="0" presId="urn:microsoft.com/office/officeart/2005/8/layout/orgChart1"/>
    <dgm:cxn modelId="{CC228419-250C-47E1-98B8-BF344F31FA27}" type="presParOf" srcId="{C354B997-2939-1341-8DCC-1E7A4A462387}" destId="{D484E633-3A43-094F-9BDE-F045289E8261}" srcOrd="0" destOrd="0" presId="urn:microsoft.com/office/officeart/2005/8/layout/orgChart1"/>
    <dgm:cxn modelId="{5BFB5CAB-38A3-4C60-87DF-9F3A7EC43CBD}" type="presParOf" srcId="{D484E633-3A43-094F-9BDE-F045289E8261}" destId="{6082D6A5-68B7-B446-B148-064BA9B1C4F3}" srcOrd="0" destOrd="0" presId="urn:microsoft.com/office/officeart/2005/8/layout/orgChart1"/>
    <dgm:cxn modelId="{BEC00FE1-7A0B-4B17-8907-661D193B7683}" type="presParOf" srcId="{D484E633-3A43-094F-9BDE-F045289E8261}" destId="{CA8452DD-A978-9C4F-960C-9A51FC333B69}" srcOrd="1" destOrd="0" presId="urn:microsoft.com/office/officeart/2005/8/layout/orgChart1"/>
    <dgm:cxn modelId="{85BDAA63-EC99-4052-B871-63C559F037FD}" type="presParOf" srcId="{C354B997-2939-1341-8DCC-1E7A4A462387}" destId="{9D99BFC8-4213-B047-B231-7FECE8EF9BD2}" srcOrd="1" destOrd="0" presId="urn:microsoft.com/office/officeart/2005/8/layout/orgChart1"/>
    <dgm:cxn modelId="{83C005DF-CCC8-4CB2-BEAF-994ECBCDB2D1}" type="presParOf" srcId="{9D99BFC8-4213-B047-B231-7FECE8EF9BD2}" destId="{FF2F631A-04CC-7F4E-ACD4-816EDC656AC2}" srcOrd="0" destOrd="0" presId="urn:microsoft.com/office/officeart/2005/8/layout/orgChart1"/>
    <dgm:cxn modelId="{4CDDACC3-B5C4-4B80-B800-67E92B63CC0E}" type="presParOf" srcId="{9D99BFC8-4213-B047-B231-7FECE8EF9BD2}" destId="{C173DBC3-41AE-CC42-B173-E6A29A944433}" srcOrd="1" destOrd="0" presId="urn:microsoft.com/office/officeart/2005/8/layout/orgChart1"/>
    <dgm:cxn modelId="{5E31623F-6B06-4E89-8BDB-26A602DF30B5}" type="presParOf" srcId="{C173DBC3-41AE-CC42-B173-E6A29A944433}" destId="{DB50BE1C-1771-8E40-ABAA-05BB9C38754E}" srcOrd="0" destOrd="0" presId="urn:microsoft.com/office/officeart/2005/8/layout/orgChart1"/>
    <dgm:cxn modelId="{05D5CDFD-75CB-48C6-BDA1-152FFAC58ABE}" type="presParOf" srcId="{DB50BE1C-1771-8E40-ABAA-05BB9C38754E}" destId="{2F445620-C777-D644-AB4E-2613AE8AE8EC}" srcOrd="0" destOrd="0" presId="urn:microsoft.com/office/officeart/2005/8/layout/orgChart1"/>
    <dgm:cxn modelId="{D3E148DC-E7C5-4BFB-BC9C-07A9E7B42D5F}" type="presParOf" srcId="{DB50BE1C-1771-8E40-ABAA-05BB9C38754E}" destId="{C0C53125-54C8-8D42-BF0D-998AE680E6B7}" srcOrd="1" destOrd="0" presId="urn:microsoft.com/office/officeart/2005/8/layout/orgChart1"/>
    <dgm:cxn modelId="{7FEA4C79-E9B5-4B3E-A24B-4003B7C3E306}" type="presParOf" srcId="{C173DBC3-41AE-CC42-B173-E6A29A944433}" destId="{0ECC14C1-7A41-E744-89CA-75D08995E214}" srcOrd="1" destOrd="0" presId="urn:microsoft.com/office/officeart/2005/8/layout/orgChart1"/>
    <dgm:cxn modelId="{613497F3-3B84-451D-A6D5-85276929C73C}" type="presParOf" srcId="{C173DBC3-41AE-CC42-B173-E6A29A944433}" destId="{14CB04A9-D2B9-DB4B-9A2C-C8670244D9B8}" srcOrd="2" destOrd="0" presId="urn:microsoft.com/office/officeart/2005/8/layout/orgChart1"/>
    <dgm:cxn modelId="{7863438F-EBF2-44A4-AEB1-8EE38AA2AEE3}" type="presParOf" srcId="{9D99BFC8-4213-B047-B231-7FECE8EF9BD2}" destId="{771D91E9-33DD-BA42-A30A-78B442DE27E6}" srcOrd="2" destOrd="0" presId="urn:microsoft.com/office/officeart/2005/8/layout/orgChart1"/>
    <dgm:cxn modelId="{8A09EC8D-EF46-4083-A9AD-D89EA1795E00}" type="presParOf" srcId="{9D99BFC8-4213-B047-B231-7FECE8EF9BD2}" destId="{1AE9A0D3-67DA-C246-BE0E-E5B46FD4A1C9}" srcOrd="3" destOrd="0" presId="urn:microsoft.com/office/officeart/2005/8/layout/orgChart1"/>
    <dgm:cxn modelId="{2A68E2F1-C52E-44EC-87E2-78C5E9EB597D}" type="presParOf" srcId="{1AE9A0D3-67DA-C246-BE0E-E5B46FD4A1C9}" destId="{E5AAB8CD-C8D3-F241-A65E-9B776C7380F2}" srcOrd="0" destOrd="0" presId="urn:microsoft.com/office/officeart/2005/8/layout/orgChart1"/>
    <dgm:cxn modelId="{7601406C-A77A-49C6-9414-BD5F6BC22CF9}" type="presParOf" srcId="{E5AAB8CD-C8D3-F241-A65E-9B776C7380F2}" destId="{360018CA-CCC9-944B-8C98-159A0A7EC697}" srcOrd="0" destOrd="0" presId="urn:microsoft.com/office/officeart/2005/8/layout/orgChart1"/>
    <dgm:cxn modelId="{CA781D83-5809-4772-8876-806561155148}" type="presParOf" srcId="{E5AAB8CD-C8D3-F241-A65E-9B776C7380F2}" destId="{F8D9BC7C-2CEE-0143-931C-BA9790F650A0}" srcOrd="1" destOrd="0" presId="urn:microsoft.com/office/officeart/2005/8/layout/orgChart1"/>
    <dgm:cxn modelId="{880516AD-FA09-478F-8227-7365D09B133E}" type="presParOf" srcId="{1AE9A0D3-67DA-C246-BE0E-E5B46FD4A1C9}" destId="{B277C1C1-6203-264B-B960-06D5824B759A}" srcOrd="1" destOrd="0" presId="urn:microsoft.com/office/officeart/2005/8/layout/orgChart1"/>
    <dgm:cxn modelId="{71D0100A-2F9D-4D9B-9785-8C1206CDEED5}" type="presParOf" srcId="{1AE9A0D3-67DA-C246-BE0E-E5B46FD4A1C9}" destId="{4FD5CE20-AEE4-3444-979E-8067463F9E93}" srcOrd="2" destOrd="0" presId="urn:microsoft.com/office/officeart/2005/8/layout/orgChart1"/>
    <dgm:cxn modelId="{6432926B-C797-4788-A51B-E30D69185689}" type="presParOf" srcId="{9D99BFC8-4213-B047-B231-7FECE8EF9BD2}" destId="{F48960DF-01E9-5247-A81C-9B4A0E974335}" srcOrd="4" destOrd="0" presId="urn:microsoft.com/office/officeart/2005/8/layout/orgChart1"/>
    <dgm:cxn modelId="{D5EBCC57-5C69-453F-8151-11E55DC6DB96}" type="presParOf" srcId="{9D99BFC8-4213-B047-B231-7FECE8EF9BD2}" destId="{4CAFBD03-887D-8C46-A9DA-4A17D14B1099}" srcOrd="5" destOrd="0" presId="urn:microsoft.com/office/officeart/2005/8/layout/orgChart1"/>
    <dgm:cxn modelId="{4D03789B-5A36-4526-9830-6A26D99F9105}" type="presParOf" srcId="{4CAFBD03-887D-8C46-A9DA-4A17D14B1099}" destId="{48C8F853-5B7F-F14F-ACBE-1FE588D9E3C3}" srcOrd="0" destOrd="0" presId="urn:microsoft.com/office/officeart/2005/8/layout/orgChart1"/>
    <dgm:cxn modelId="{BF73063E-0709-41C0-A3CD-68C267C04A14}" type="presParOf" srcId="{48C8F853-5B7F-F14F-ACBE-1FE588D9E3C3}" destId="{43BFBF23-A612-534D-BC93-011BE2177425}" srcOrd="0" destOrd="0" presId="urn:microsoft.com/office/officeart/2005/8/layout/orgChart1"/>
    <dgm:cxn modelId="{B7E25990-7A81-491C-89D5-DA007F36AF83}" type="presParOf" srcId="{48C8F853-5B7F-F14F-ACBE-1FE588D9E3C3}" destId="{856653AE-567F-6C4D-A8AB-D3EE95C6B4AD}" srcOrd="1" destOrd="0" presId="urn:microsoft.com/office/officeart/2005/8/layout/orgChart1"/>
    <dgm:cxn modelId="{1B5DA9AD-2C4C-4718-9017-50F17757648A}" type="presParOf" srcId="{4CAFBD03-887D-8C46-A9DA-4A17D14B1099}" destId="{070B8381-9900-C74A-A69D-D5CD876360CC}" srcOrd="1" destOrd="0" presId="urn:microsoft.com/office/officeart/2005/8/layout/orgChart1"/>
    <dgm:cxn modelId="{6F3D24BF-BBB8-4C14-820B-40F875F7811B}" type="presParOf" srcId="{4CAFBD03-887D-8C46-A9DA-4A17D14B1099}" destId="{AA24D185-8740-2047-B2B0-8CE1CA0A121C}" srcOrd="2" destOrd="0" presId="urn:microsoft.com/office/officeart/2005/8/layout/orgChart1"/>
    <dgm:cxn modelId="{5B5C00CC-4BA4-416D-8D19-B2E75940C805}" type="presParOf" srcId="{C354B997-2939-1341-8DCC-1E7A4A462387}" destId="{9E49063A-B781-3144-8535-936197A528F8}" srcOrd="2" destOrd="0" presId="urn:microsoft.com/office/officeart/2005/8/layout/orgChart1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28826BBF-440F-3447-9377-AD0B3A1255F1}" type="doc">
      <dgm:prSet loTypeId="urn:microsoft.com/office/officeart/2005/8/layout/radial4" loCatId="" qsTypeId="urn:microsoft.com/office/officeart/2005/8/quickstyle/simple4" qsCatId="simple" csTypeId="urn:microsoft.com/office/officeart/2005/8/colors/colorful1#5" csCatId="colorful" phldr="1"/>
      <dgm:spPr/>
      <dgm:t>
        <a:bodyPr/>
        <a:lstStyle/>
        <a:p>
          <a:endParaRPr lang="en-US"/>
        </a:p>
      </dgm:t>
    </dgm:pt>
    <dgm:pt modelId="{227A4CD8-3614-A344-97D5-106635D2DBF9}">
      <dgm:prSet phldrT="[Text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ao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ng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ử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ng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ể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ang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ại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ợi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ận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o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ớn</a:t>
          </a:r>
          <a:endParaRPr lang="en-US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57EB59DD-4FE8-B04B-B646-4239966BE6DD}" type="parTrans" cxnId="{7876BA07-2C15-394C-835F-B307A45C03A4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96121ED4-C74E-144B-8BA7-2B22B794D3B4}" type="sibTrans" cxnId="{7876BA07-2C15-394C-835F-B307A45C03A4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F1B45FE-48A6-1245-91C0-E0FB74745CD3}">
      <dgm:prSet phldrT="[Text]"/>
      <dgm:spPr/>
      <dgm:t>
        <a:bodyPr/>
        <a:lstStyle/>
        <a:p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ửi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i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m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ền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a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o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ớn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ử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ng</a:t>
          </a:r>
          <a:endParaRPr lang="en-US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249E8CC2-1458-4C41-9F69-EF8A19373A15}" type="parTrans" cxnId="{B4511AF5-5EAC-6C4C-A375-EC0FFEDBDFB6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1F7CC40-E530-264D-9888-6FB278D3564E}" type="sibTrans" cxnId="{B4511AF5-5EAC-6C4C-A375-EC0FFEDBDFB6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1BD7F1D9-377A-A245-AEB8-0D8A91AE8274}">
      <dgm:prSet phldrT="[Text]"/>
      <dgm:spPr>
        <a:solidFill>
          <a:schemeClr val="bg2">
            <a:lumMod val="90000"/>
          </a:schemeClr>
        </a:solidFill>
      </dgm:spPr>
      <dgm:t>
        <a:bodyPr/>
        <a:lstStyle/>
        <a:p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ử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ng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ể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in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ền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ền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ử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ng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ởi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ớn</a:t>
          </a:r>
          <a:endParaRPr lang="en-US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95A6F22E-6B4D-6746-A0EC-3E3B78CAE09B}" type="parTrans" cxnId="{4E4536B6-5B70-B24F-9698-4031FBB475A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D272470-4B9D-2B40-9785-970D8B8BD365}" type="sibTrans" cxnId="{4E4536B6-5B70-B24F-9698-4031FBB475A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EB3701F-2B59-B64F-9872-7C52EC1D4409}">
      <dgm:prSet phldrT="[Text]"/>
      <dgm:spPr/>
      <dgm:t>
        <a:bodyPr/>
        <a:lstStyle/>
        <a:p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ử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ng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ể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ực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iện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ất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ông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à</a:t>
          </a:r>
          <a:endParaRPr lang="en-US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861770C3-375D-8943-9E97-C3DBB9A428D9}" type="parTrans" cxnId="{099CA0D6-C8D2-AA48-8E8A-7EE6EB11C25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CEE34F9-2298-4145-8483-4ED1EC5CA277}" type="sibTrans" cxnId="{099CA0D6-C8D2-AA48-8E8A-7EE6EB11C257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3D2195F5-9870-CF46-B093-3934277BDB6E}" type="pres">
      <dgm:prSet presAssocID="{28826BBF-440F-3447-9377-AD0B3A1255F1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A4ABC07C-DA97-F746-B5D2-D38EDA597718}" type="pres">
      <dgm:prSet presAssocID="{227A4CD8-3614-A344-97D5-106635D2DBF9}" presName="centerShape" presStyleLbl="node0" presStyleIdx="0" presStyleCnt="1" custScaleX="150239"/>
      <dgm:spPr/>
    </dgm:pt>
    <dgm:pt modelId="{25938C64-0BE1-2449-A919-4D6A46739616}" type="pres">
      <dgm:prSet presAssocID="{249E8CC2-1458-4C41-9F69-EF8A19373A15}" presName="parTrans" presStyleLbl="bgSibTrans2D1" presStyleIdx="0" presStyleCnt="3"/>
      <dgm:spPr/>
    </dgm:pt>
    <dgm:pt modelId="{5F54A713-917B-FC4F-9FFD-DB9B8B3200F4}" type="pres">
      <dgm:prSet presAssocID="{3F1B45FE-48A6-1245-91C0-E0FB74745CD3}" presName="node" presStyleLbl="node1" presStyleIdx="0" presStyleCnt="3" custScaleX="124786" custRadScaleRad="130023" custRadScaleInc="-27283">
        <dgm:presLayoutVars>
          <dgm:bulletEnabled val="1"/>
        </dgm:presLayoutVars>
      </dgm:prSet>
      <dgm:spPr/>
    </dgm:pt>
    <dgm:pt modelId="{42E892C5-ED69-574A-A394-0A75FD15E03D}" type="pres">
      <dgm:prSet presAssocID="{95A6F22E-6B4D-6746-A0EC-3E3B78CAE09B}" presName="parTrans" presStyleLbl="bgSibTrans2D1" presStyleIdx="1" presStyleCnt="3"/>
      <dgm:spPr/>
    </dgm:pt>
    <dgm:pt modelId="{54374050-6273-F240-8266-4282D6551114}" type="pres">
      <dgm:prSet presAssocID="{1BD7F1D9-377A-A245-AEB8-0D8A91AE8274}" presName="node" presStyleLbl="node1" presStyleIdx="1" presStyleCnt="3" custScaleX="179541">
        <dgm:presLayoutVars>
          <dgm:bulletEnabled val="1"/>
        </dgm:presLayoutVars>
      </dgm:prSet>
      <dgm:spPr/>
    </dgm:pt>
    <dgm:pt modelId="{582932EE-DABF-DB4D-8AC7-BE4599475F00}" type="pres">
      <dgm:prSet presAssocID="{861770C3-375D-8943-9E97-C3DBB9A428D9}" presName="parTrans" presStyleLbl="bgSibTrans2D1" presStyleIdx="2" presStyleCnt="3"/>
      <dgm:spPr/>
    </dgm:pt>
    <dgm:pt modelId="{201E0B2A-9D30-1348-8380-849CBDA63462}" type="pres">
      <dgm:prSet presAssocID="{7EB3701F-2B59-B64F-9872-7C52EC1D4409}" presName="node" presStyleLbl="node1" presStyleIdx="2" presStyleCnt="3" custScaleX="127584" custRadScaleRad="130317" custRadScaleInc="26652">
        <dgm:presLayoutVars>
          <dgm:bulletEnabled val="1"/>
        </dgm:presLayoutVars>
      </dgm:prSet>
      <dgm:spPr/>
    </dgm:pt>
  </dgm:ptLst>
  <dgm:cxnLst>
    <dgm:cxn modelId="{7876BA07-2C15-394C-835F-B307A45C03A4}" srcId="{28826BBF-440F-3447-9377-AD0B3A1255F1}" destId="{227A4CD8-3614-A344-97D5-106635D2DBF9}" srcOrd="0" destOrd="0" parTransId="{57EB59DD-4FE8-B04B-B646-4239966BE6DD}" sibTransId="{96121ED4-C74E-144B-8BA7-2B22B794D3B4}"/>
    <dgm:cxn modelId="{71C2AA0F-DF73-F346-9D4D-917D0368DCBE}" type="presOf" srcId="{1BD7F1D9-377A-A245-AEB8-0D8A91AE8274}" destId="{54374050-6273-F240-8266-4282D6551114}" srcOrd="0" destOrd="0" presId="urn:microsoft.com/office/officeart/2005/8/layout/radial4"/>
    <dgm:cxn modelId="{997C472C-11F5-5940-A4C5-9B85EEAEEFD8}" type="presOf" srcId="{227A4CD8-3614-A344-97D5-106635D2DBF9}" destId="{A4ABC07C-DA97-F746-B5D2-D38EDA597718}" srcOrd="0" destOrd="0" presId="urn:microsoft.com/office/officeart/2005/8/layout/radial4"/>
    <dgm:cxn modelId="{21544249-C556-1C45-B641-94D234D4A11C}" type="presOf" srcId="{3F1B45FE-48A6-1245-91C0-E0FB74745CD3}" destId="{5F54A713-917B-FC4F-9FFD-DB9B8B3200F4}" srcOrd="0" destOrd="0" presId="urn:microsoft.com/office/officeart/2005/8/layout/radial4"/>
    <dgm:cxn modelId="{B3BF1492-A761-BB4D-A5C6-70DE92E3002C}" type="presOf" srcId="{249E8CC2-1458-4C41-9F69-EF8A19373A15}" destId="{25938C64-0BE1-2449-A919-4D6A46739616}" srcOrd="0" destOrd="0" presId="urn:microsoft.com/office/officeart/2005/8/layout/radial4"/>
    <dgm:cxn modelId="{4A46AE96-33D2-ED45-A485-03A4D92D3DAC}" type="presOf" srcId="{28826BBF-440F-3447-9377-AD0B3A1255F1}" destId="{3D2195F5-9870-CF46-B093-3934277BDB6E}" srcOrd="0" destOrd="0" presId="urn:microsoft.com/office/officeart/2005/8/layout/radial4"/>
    <dgm:cxn modelId="{922A7DAA-AA38-354E-93B4-9522C0962B8B}" type="presOf" srcId="{861770C3-375D-8943-9E97-C3DBB9A428D9}" destId="{582932EE-DABF-DB4D-8AC7-BE4599475F00}" srcOrd="0" destOrd="0" presId="urn:microsoft.com/office/officeart/2005/8/layout/radial4"/>
    <dgm:cxn modelId="{3165ECB5-2C0F-9C47-8F86-C44B6FEF2F3C}" type="presOf" srcId="{95A6F22E-6B4D-6746-A0EC-3E3B78CAE09B}" destId="{42E892C5-ED69-574A-A394-0A75FD15E03D}" srcOrd="0" destOrd="0" presId="urn:microsoft.com/office/officeart/2005/8/layout/radial4"/>
    <dgm:cxn modelId="{4E4536B6-5B70-B24F-9698-4031FBB475AA}" srcId="{227A4CD8-3614-A344-97D5-106635D2DBF9}" destId="{1BD7F1D9-377A-A245-AEB8-0D8A91AE8274}" srcOrd="1" destOrd="0" parTransId="{95A6F22E-6B4D-6746-A0EC-3E3B78CAE09B}" sibTransId="{AD272470-4B9D-2B40-9785-970D8B8BD365}"/>
    <dgm:cxn modelId="{37D36FBE-8B97-484F-8B84-7364A4FB99A3}" type="presOf" srcId="{7EB3701F-2B59-B64F-9872-7C52EC1D4409}" destId="{201E0B2A-9D30-1348-8380-849CBDA63462}" srcOrd="0" destOrd="0" presId="urn:microsoft.com/office/officeart/2005/8/layout/radial4"/>
    <dgm:cxn modelId="{099CA0D6-C8D2-AA48-8E8A-7EE6EB11C257}" srcId="{227A4CD8-3614-A344-97D5-106635D2DBF9}" destId="{7EB3701F-2B59-B64F-9872-7C52EC1D4409}" srcOrd="2" destOrd="0" parTransId="{861770C3-375D-8943-9E97-C3DBB9A428D9}" sibTransId="{6CEE34F9-2298-4145-8483-4ED1EC5CA277}"/>
    <dgm:cxn modelId="{B4511AF5-5EAC-6C4C-A375-EC0FFEDBDFB6}" srcId="{227A4CD8-3614-A344-97D5-106635D2DBF9}" destId="{3F1B45FE-48A6-1245-91C0-E0FB74745CD3}" srcOrd="0" destOrd="0" parTransId="{249E8CC2-1458-4C41-9F69-EF8A19373A15}" sibTransId="{51F7CC40-E530-264D-9888-6FB278D3564E}"/>
    <dgm:cxn modelId="{09BA3752-7562-1546-93CD-61C488EF565E}" type="presParOf" srcId="{3D2195F5-9870-CF46-B093-3934277BDB6E}" destId="{A4ABC07C-DA97-F746-B5D2-D38EDA597718}" srcOrd="0" destOrd="0" presId="urn:microsoft.com/office/officeart/2005/8/layout/radial4"/>
    <dgm:cxn modelId="{BD1E0B2C-FEDF-3F40-835A-98BC31E2B727}" type="presParOf" srcId="{3D2195F5-9870-CF46-B093-3934277BDB6E}" destId="{25938C64-0BE1-2449-A919-4D6A46739616}" srcOrd="1" destOrd="0" presId="urn:microsoft.com/office/officeart/2005/8/layout/radial4"/>
    <dgm:cxn modelId="{80793E77-2896-2D45-8CCD-8A867AA9AB13}" type="presParOf" srcId="{3D2195F5-9870-CF46-B093-3934277BDB6E}" destId="{5F54A713-917B-FC4F-9FFD-DB9B8B3200F4}" srcOrd="2" destOrd="0" presId="urn:microsoft.com/office/officeart/2005/8/layout/radial4"/>
    <dgm:cxn modelId="{A7CB4F67-CE1E-E34E-8402-C4BFA95B32C6}" type="presParOf" srcId="{3D2195F5-9870-CF46-B093-3934277BDB6E}" destId="{42E892C5-ED69-574A-A394-0A75FD15E03D}" srcOrd="3" destOrd="0" presId="urn:microsoft.com/office/officeart/2005/8/layout/radial4"/>
    <dgm:cxn modelId="{E86A0FAC-C6EA-F14C-90A2-294F04121552}" type="presParOf" srcId="{3D2195F5-9870-CF46-B093-3934277BDB6E}" destId="{54374050-6273-F240-8266-4282D6551114}" srcOrd="4" destOrd="0" presId="urn:microsoft.com/office/officeart/2005/8/layout/radial4"/>
    <dgm:cxn modelId="{B1E591BB-09AD-9D4D-BB1E-D722BA374F4A}" type="presParOf" srcId="{3D2195F5-9870-CF46-B093-3934277BDB6E}" destId="{582932EE-DABF-DB4D-8AC7-BE4599475F00}" srcOrd="5" destOrd="0" presId="urn:microsoft.com/office/officeart/2005/8/layout/radial4"/>
    <dgm:cxn modelId="{A9999DA4-93EE-F642-B77D-6E0A465D2EA0}" type="presParOf" srcId="{3D2195F5-9870-CF46-B093-3934277BDB6E}" destId="{201E0B2A-9D30-1348-8380-849CBDA63462}" srcOrd="6" destOrd="0" presId="urn:microsoft.com/office/officeart/2005/8/layout/radial4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1DB25687-4266-6F46-803A-37F1633BFF71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978FA7FF-C926-2A42-832A-9B0888845027}">
      <dgm:prSet phldrT="[Text]" custT="1"/>
      <dgm:spPr>
        <a:solidFill>
          <a:schemeClr val="bg1"/>
        </a:solidFill>
      </dgm:spPr>
      <dgm:t>
        <a:bodyPr/>
        <a:lstStyle/>
        <a:p>
          <a:r>
            <a:rPr lang="vi-VN" sz="20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Mặc dù </a:t>
          </a:r>
          <a:r>
            <a:rPr lang="en-US" sz="20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chúng</a:t>
          </a:r>
          <a:r>
            <a:rPr lang="en-US" sz="20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ta </a:t>
          </a:r>
          <a:r>
            <a:rPr lang="vi-VN" sz="20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thường </a:t>
          </a:r>
          <a:r>
            <a:rPr lang="en-US" sz="20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“</a:t>
          </a:r>
          <a:r>
            <a:rPr lang="vi-VN" sz="20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nhận </a:t>
          </a:r>
          <a:r>
            <a:rPr lang="en-US" sz="20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thấy</a:t>
          </a:r>
          <a:r>
            <a:rPr lang="en-US" sz="20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”</a:t>
          </a:r>
          <a:r>
            <a:rPr lang="vi-VN" sz="20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có</a:t>
          </a:r>
          <a:r>
            <a:rPr lang="vi-VN" sz="20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những </a:t>
          </a:r>
          <a:r>
            <a:rPr lang="en-US" sz="20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quan</a:t>
          </a:r>
          <a:r>
            <a:rPr lang="en-US" sz="20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ngại</a:t>
          </a:r>
          <a:r>
            <a:rPr lang="vi-VN" sz="20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[lo lắng] về một đứa trẻ, nhưng không phải lúc nào </a:t>
          </a:r>
          <a:r>
            <a:rPr lang="en-US" sz="20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quan</a:t>
          </a:r>
          <a:r>
            <a:rPr lang="en-US" sz="20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ngại</a:t>
          </a:r>
          <a:r>
            <a:rPr lang="en-US" sz="20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đó</a:t>
          </a:r>
          <a:r>
            <a:rPr lang="en-US" sz="20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cũng</a:t>
          </a:r>
          <a:r>
            <a:rPr lang="en-US" sz="20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có</a:t>
          </a:r>
          <a:r>
            <a:rPr lang="en-US" sz="20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nghĩa</a:t>
          </a:r>
          <a:r>
            <a:rPr lang="en-US" sz="20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trẻ</a:t>
          </a:r>
          <a:r>
            <a:rPr lang="en-US" sz="20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bị</a:t>
          </a:r>
          <a:r>
            <a:rPr lang="en-US" sz="20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xâm</a:t>
          </a:r>
          <a:r>
            <a:rPr lang="en-US" sz="20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hại</a:t>
          </a:r>
          <a:r>
            <a:rPr lang="en-US" sz="20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endParaRPr lang="en-GB" sz="2000" dirty="0">
            <a:solidFill>
              <a:schemeClr val="tx1"/>
            </a:solidFill>
            <a:latin typeface="+mj-lt"/>
            <a:cs typeface="Arial" panose="020B0604020202020204" pitchFamily="34" charset="0"/>
          </a:endParaRPr>
        </a:p>
      </dgm:t>
    </dgm:pt>
    <dgm:pt modelId="{81942E76-2A5A-E44B-B1B4-3458761D1810}" type="parTrans" cxnId="{F46919F0-EC05-3D47-A419-DD986ECD777A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623A6EAB-4C2E-AD47-8356-4827E84A618F}" type="sibTrans" cxnId="{F46919F0-EC05-3D47-A419-DD986ECD777A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90D50EED-8D07-3844-9A6B-04B42D972FFC}">
      <dgm:prSet phldrT="[Text]" custT="1"/>
      <dgm:spPr>
        <a:solidFill>
          <a:schemeClr val="bg1"/>
        </a:solidFill>
      </dgm:spPr>
      <dgm:t>
        <a:bodyPr/>
        <a:lstStyle/>
        <a:p>
          <a:pPr algn="ctr"/>
          <a:r>
            <a:rPr lang="en-AU" sz="2000" dirty="0" err="1">
              <a:solidFill>
                <a:schemeClr val="tx1"/>
              </a:solidFill>
              <a:latin typeface="+mj-lt"/>
            </a:rPr>
            <a:t>Đôi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khi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có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những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dấu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hiệu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rõ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ràng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như</a:t>
          </a:r>
          <a:r>
            <a:rPr lang="en-AU" sz="2000" dirty="0">
              <a:solidFill>
                <a:schemeClr val="tx1"/>
              </a:solidFill>
              <a:latin typeface="+mj-lt"/>
            </a:rPr>
            <a:t>:</a:t>
          </a:r>
        </a:p>
        <a:p>
          <a:pPr algn="ctr"/>
          <a:r>
            <a:rPr lang="en-AU" sz="2000" dirty="0" err="1">
              <a:solidFill>
                <a:schemeClr val="tx1"/>
              </a:solidFill>
              <a:latin typeface="+mj-lt"/>
            </a:rPr>
            <a:t>Trẻ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bị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xâm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hại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tình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dục</a:t>
          </a:r>
          <a:endParaRPr lang="en-AU" sz="2000" dirty="0">
            <a:solidFill>
              <a:schemeClr val="tx1"/>
            </a:solidFill>
            <a:latin typeface="+mj-lt"/>
          </a:endParaRPr>
        </a:p>
        <a:p>
          <a:pPr algn="ctr"/>
          <a:r>
            <a:rPr lang="en-AU" sz="2000" dirty="0" err="1">
              <a:solidFill>
                <a:schemeClr val="tx1"/>
              </a:solidFill>
              <a:latin typeface="+mj-lt"/>
            </a:rPr>
            <a:t>Trẻ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có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những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vết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thương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thể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chất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không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phải</a:t>
          </a:r>
          <a:r>
            <a:rPr lang="en-AU" sz="2000" dirty="0">
              <a:solidFill>
                <a:schemeClr val="tx1"/>
              </a:solidFill>
              <a:latin typeface="+mj-lt"/>
            </a:rPr>
            <a:t> tai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nạn</a:t>
          </a:r>
          <a:endParaRPr lang="en-AU" sz="2000" dirty="0">
            <a:solidFill>
              <a:schemeClr val="tx1"/>
            </a:solidFill>
            <a:latin typeface="+mj-lt"/>
          </a:endParaRPr>
        </a:p>
        <a:p>
          <a:pPr algn="ctr"/>
          <a:r>
            <a:rPr lang="en-AU" sz="2000" dirty="0" err="1">
              <a:solidFill>
                <a:schemeClr val="tx1"/>
              </a:solidFill>
              <a:latin typeface="+mj-lt"/>
            </a:rPr>
            <a:t>Trẻ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có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biểu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hiện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chấn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động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tâm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lý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hoặc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chối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bỏ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cảm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xúc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rõ</a:t>
          </a:r>
          <a:r>
            <a:rPr lang="en-AU" sz="2000" dirty="0">
              <a:solidFill>
                <a:schemeClr val="tx1"/>
              </a:solidFill>
              <a:latin typeface="+mj-lt"/>
            </a:rPr>
            <a:t> </a:t>
          </a:r>
          <a:r>
            <a:rPr lang="en-AU" sz="2000" dirty="0" err="1">
              <a:solidFill>
                <a:schemeClr val="tx1"/>
              </a:solidFill>
              <a:latin typeface="+mj-lt"/>
            </a:rPr>
            <a:t>rệt</a:t>
          </a:r>
          <a:endParaRPr lang="en-GB" sz="2000" dirty="0">
            <a:solidFill>
              <a:schemeClr val="tx1"/>
            </a:solidFill>
            <a:latin typeface="+mj-lt"/>
          </a:endParaRPr>
        </a:p>
      </dgm:t>
    </dgm:pt>
    <dgm:pt modelId="{EF79061F-E0EC-1343-989A-AF38DF483EE2}" type="parTrans" cxnId="{B83F727B-A53A-6F42-B460-229B56F965F1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01376B6E-83C1-FD40-BB26-6F473ADF95F7}" type="sibTrans" cxnId="{B83F727B-A53A-6F42-B460-229B56F965F1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BF610562-7C14-2641-B2D9-8114B19A1C16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000" dirty="0" err="1">
              <a:solidFill>
                <a:schemeClr val="tx1"/>
              </a:solidFill>
              <a:latin typeface="+mj-lt"/>
            </a:rPr>
            <a:t>Đôi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khi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một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hành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động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có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thể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được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diễn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giải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theo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hai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hướng</a:t>
          </a:r>
          <a:r>
            <a:rPr lang="en-GB" sz="2000" dirty="0">
              <a:solidFill>
                <a:schemeClr val="tx1"/>
              </a:solidFill>
              <a:latin typeface="+mj-lt"/>
            </a:rPr>
            <a:t>:</a:t>
          </a:r>
        </a:p>
        <a:p>
          <a:r>
            <a:rPr lang="en-GB" sz="2000" dirty="0">
              <a:solidFill>
                <a:schemeClr val="tx1"/>
              </a:solidFill>
              <a:latin typeface="+mj-lt"/>
            </a:rPr>
            <a:t>1.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Hành</a:t>
          </a:r>
          <a:r>
            <a:rPr lang="en-GB" sz="2000" dirty="0">
              <a:solidFill>
                <a:schemeClr val="tx1"/>
              </a:solidFill>
              <a:latin typeface="+mj-lt"/>
            </a:rPr>
            <a:t> vi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đó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là</a:t>
          </a:r>
          <a:r>
            <a:rPr lang="en-GB" sz="2000" dirty="0">
              <a:solidFill>
                <a:schemeClr val="tx1"/>
              </a:solidFill>
              <a:latin typeface="+mj-lt"/>
            </a:rPr>
            <a:t> “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bình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thường</a:t>
          </a:r>
          <a:r>
            <a:rPr lang="en-GB" sz="2000" dirty="0">
              <a:solidFill>
                <a:schemeClr val="tx1"/>
              </a:solidFill>
              <a:latin typeface="+mj-lt"/>
            </a:rPr>
            <a:t>” [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đi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kèm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ảnh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hưởng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của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những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hành</a:t>
          </a:r>
          <a:r>
            <a:rPr lang="en-GB" sz="2000" dirty="0">
              <a:solidFill>
                <a:schemeClr val="tx1"/>
              </a:solidFill>
              <a:latin typeface="+mj-lt"/>
            </a:rPr>
            <a:t> vi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này</a:t>
          </a:r>
          <a:r>
            <a:rPr lang="en-GB" sz="2000" dirty="0">
              <a:solidFill>
                <a:schemeClr val="tx1"/>
              </a:solidFill>
              <a:latin typeface="+mj-lt"/>
            </a:rPr>
            <a:t>]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và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cũng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có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thể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là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xâm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hại</a:t>
          </a:r>
          <a:endParaRPr lang="en-GB" sz="2000" dirty="0">
            <a:solidFill>
              <a:schemeClr val="tx1"/>
            </a:solidFill>
            <a:latin typeface="+mj-lt"/>
          </a:endParaRPr>
        </a:p>
        <a:p>
          <a:r>
            <a:rPr lang="en-GB" sz="2000" dirty="0">
              <a:solidFill>
                <a:schemeClr val="tx1"/>
              </a:solidFill>
              <a:latin typeface="+mj-lt"/>
            </a:rPr>
            <a:t>2.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Không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bình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thường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và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có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quan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ngại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đáng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kể</a:t>
          </a:r>
          <a:r>
            <a:rPr lang="en-GB" sz="2000" dirty="0">
              <a:solidFill>
                <a:schemeClr val="tx1"/>
              </a:solidFill>
              <a:latin typeface="+mj-lt"/>
            </a:rPr>
            <a:t>.</a:t>
          </a:r>
        </a:p>
        <a:p>
          <a:r>
            <a:rPr lang="en-GB" sz="2000" dirty="0" err="1">
              <a:solidFill>
                <a:schemeClr val="tx1"/>
              </a:solidFill>
              <a:latin typeface="+mj-lt"/>
            </a:rPr>
            <a:t>Ví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dụ</a:t>
          </a:r>
          <a:endParaRPr lang="en-GB" sz="2000" dirty="0">
            <a:solidFill>
              <a:schemeClr val="tx1"/>
            </a:solidFill>
            <a:latin typeface="+mj-lt"/>
          </a:endParaRPr>
        </a:p>
        <a:p>
          <a:r>
            <a:rPr lang="en-GB" sz="2000" dirty="0" err="1">
              <a:solidFill>
                <a:schemeClr val="tx1"/>
              </a:solidFill>
              <a:latin typeface="+mj-lt"/>
            </a:rPr>
            <a:t>Trẻ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bị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gãy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tay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có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thể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là</a:t>
          </a:r>
          <a:r>
            <a:rPr lang="en-GB" sz="2000" dirty="0">
              <a:solidFill>
                <a:schemeClr val="tx1"/>
              </a:solidFill>
              <a:latin typeface="+mj-lt"/>
            </a:rPr>
            <a:t> do tai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nạn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hoặc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không</a:t>
          </a:r>
          <a:r>
            <a:rPr lang="en-GB" sz="2000" dirty="0">
              <a:solidFill>
                <a:schemeClr val="tx1"/>
              </a:solidFill>
              <a:latin typeface="+mj-lt"/>
            </a:rPr>
            <a:t>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phải</a:t>
          </a:r>
          <a:r>
            <a:rPr lang="en-GB" sz="2000" dirty="0">
              <a:solidFill>
                <a:schemeClr val="tx1"/>
              </a:solidFill>
              <a:latin typeface="+mj-lt"/>
            </a:rPr>
            <a:t> tai </a:t>
          </a:r>
          <a:r>
            <a:rPr lang="en-GB" sz="2000" dirty="0" err="1">
              <a:solidFill>
                <a:schemeClr val="tx1"/>
              </a:solidFill>
              <a:latin typeface="+mj-lt"/>
            </a:rPr>
            <a:t>nạn</a:t>
          </a:r>
          <a:r>
            <a:rPr lang="en-GB" sz="2000" dirty="0">
              <a:solidFill>
                <a:schemeClr val="tx1"/>
              </a:solidFill>
              <a:latin typeface="+mj-lt"/>
            </a:rPr>
            <a:t>.</a:t>
          </a:r>
        </a:p>
        <a:p>
          <a:r>
            <a:rPr lang="vi-VN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Bắt nạt có thể là 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“</a:t>
          </a:r>
          <a:r>
            <a:rPr lang="vi-VN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Bình thường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”</a:t>
          </a:r>
          <a:r>
            <a:rPr lang="vi-VN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khi nó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chỉ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biểu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hiện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dưới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dạng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tranh</a:t>
          </a:r>
          <a:r>
            <a:rPr lang="vi-VN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cãi</a:t>
          </a:r>
          <a:r>
            <a:rPr lang="vi-VN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,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quan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điểm</a:t>
          </a:r>
          <a:r>
            <a:rPr lang="vi-VN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khác biệt và đe dọa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nhẹ</a:t>
          </a:r>
          <a:r>
            <a:rPr lang="vi-VN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[ví dụ: Tôi sẽ không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chơi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với</a:t>
          </a:r>
          <a:r>
            <a:rPr lang="vi-VN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bạn nữa] giữa trẻ em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với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nhau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và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có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thể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là</a:t>
          </a:r>
          <a:r>
            <a:rPr lang="vi-VN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xâm hại trẻ em khi nó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biểu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hiện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dưới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dạng</a:t>
          </a:r>
          <a:r>
            <a:rPr lang="vi-VN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quấy rối, đe dọa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nghiêm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trọng</a:t>
          </a:r>
          <a:r>
            <a:rPr lang="vi-VN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và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đã</a:t>
          </a:r>
          <a:r>
            <a:rPr lang="vi-VN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có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vi-VN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hành động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xảy</a:t>
          </a:r>
          <a:r>
            <a:rPr lang="en-US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ra</a:t>
          </a:r>
          <a:r>
            <a:rPr lang="en-GB" sz="20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. </a:t>
          </a:r>
        </a:p>
      </dgm:t>
    </dgm:pt>
    <dgm:pt modelId="{F103F9F6-607F-5D4B-8D4E-1627EC6CBB9D}" type="parTrans" cxnId="{EB1B984E-153A-134A-85FC-D2BCBEB17150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280AE155-402A-AA4B-891B-96C6EA65CE33}" type="sibTrans" cxnId="{EB1B984E-153A-134A-85FC-D2BCBEB17150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86392661-BAAD-1049-8395-698597C5617A}" type="pres">
      <dgm:prSet presAssocID="{1DB25687-4266-6F46-803A-37F1633BFF71}" presName="CompostProcess" presStyleCnt="0">
        <dgm:presLayoutVars>
          <dgm:dir/>
          <dgm:resizeHandles val="exact"/>
        </dgm:presLayoutVars>
      </dgm:prSet>
      <dgm:spPr/>
    </dgm:pt>
    <dgm:pt modelId="{E314B892-F3F3-6C4A-9F9E-493F857DB4C8}" type="pres">
      <dgm:prSet presAssocID="{1DB25687-4266-6F46-803A-37F1633BFF71}" presName="arrow" presStyleLbl="bgShp" presStyleIdx="0" presStyleCnt="1"/>
      <dgm:spPr/>
    </dgm:pt>
    <dgm:pt modelId="{BC05E574-3B46-5C42-8FBB-57BBD9212869}" type="pres">
      <dgm:prSet presAssocID="{1DB25687-4266-6F46-803A-37F1633BFF71}" presName="linearProcess" presStyleCnt="0"/>
      <dgm:spPr/>
    </dgm:pt>
    <dgm:pt modelId="{82B49846-8028-D54A-A1D1-24884C9A9CD5}" type="pres">
      <dgm:prSet presAssocID="{978FA7FF-C926-2A42-832A-9B0888845027}" presName="textNode" presStyleLbl="node1" presStyleIdx="0" presStyleCnt="3" custScaleX="83421" custScaleY="124921">
        <dgm:presLayoutVars>
          <dgm:bulletEnabled val="1"/>
        </dgm:presLayoutVars>
      </dgm:prSet>
      <dgm:spPr/>
    </dgm:pt>
    <dgm:pt modelId="{CDE77A53-7E79-2A40-B537-9EC73F25DFD5}" type="pres">
      <dgm:prSet presAssocID="{623A6EAB-4C2E-AD47-8356-4827E84A618F}" presName="sibTrans" presStyleCnt="0"/>
      <dgm:spPr/>
    </dgm:pt>
    <dgm:pt modelId="{94F57D72-0620-794D-9A42-23F4A7C42421}" type="pres">
      <dgm:prSet presAssocID="{90D50EED-8D07-3844-9A6B-04B42D972FFC}" presName="textNode" presStyleLbl="node1" presStyleIdx="1" presStyleCnt="3" custScaleX="79069" custScaleY="133353">
        <dgm:presLayoutVars>
          <dgm:bulletEnabled val="1"/>
        </dgm:presLayoutVars>
      </dgm:prSet>
      <dgm:spPr/>
    </dgm:pt>
    <dgm:pt modelId="{0D63948C-1C53-E545-A828-E06E73ED4DBE}" type="pres">
      <dgm:prSet presAssocID="{01376B6E-83C1-FD40-BB26-6F473ADF95F7}" presName="sibTrans" presStyleCnt="0"/>
      <dgm:spPr/>
    </dgm:pt>
    <dgm:pt modelId="{C2C430A7-EDD2-F44F-B306-32A12E4F01A1}" type="pres">
      <dgm:prSet presAssocID="{BF610562-7C14-2641-B2D9-8114B19A1C16}" presName="textNode" presStyleLbl="node1" presStyleIdx="2" presStyleCnt="3" custScaleX="122147" custScaleY="227983">
        <dgm:presLayoutVars>
          <dgm:bulletEnabled val="1"/>
        </dgm:presLayoutVars>
      </dgm:prSet>
      <dgm:spPr/>
    </dgm:pt>
  </dgm:ptLst>
  <dgm:cxnLst>
    <dgm:cxn modelId="{69DAC93C-9EDF-B047-A309-F71A54D69DC8}" type="presOf" srcId="{90D50EED-8D07-3844-9A6B-04B42D972FFC}" destId="{94F57D72-0620-794D-9A42-23F4A7C42421}" srcOrd="0" destOrd="0" presId="urn:microsoft.com/office/officeart/2005/8/layout/hProcess9"/>
    <dgm:cxn modelId="{EB1B984E-153A-134A-85FC-D2BCBEB17150}" srcId="{1DB25687-4266-6F46-803A-37F1633BFF71}" destId="{BF610562-7C14-2641-B2D9-8114B19A1C16}" srcOrd="2" destOrd="0" parTransId="{F103F9F6-607F-5D4B-8D4E-1627EC6CBB9D}" sibTransId="{280AE155-402A-AA4B-891B-96C6EA65CE33}"/>
    <dgm:cxn modelId="{2AEE2A7B-D304-9D4C-8496-3B62C5B40B1F}" type="presOf" srcId="{978FA7FF-C926-2A42-832A-9B0888845027}" destId="{82B49846-8028-D54A-A1D1-24884C9A9CD5}" srcOrd="0" destOrd="0" presId="urn:microsoft.com/office/officeart/2005/8/layout/hProcess9"/>
    <dgm:cxn modelId="{B83F727B-A53A-6F42-B460-229B56F965F1}" srcId="{1DB25687-4266-6F46-803A-37F1633BFF71}" destId="{90D50EED-8D07-3844-9A6B-04B42D972FFC}" srcOrd="1" destOrd="0" parTransId="{EF79061F-E0EC-1343-989A-AF38DF483EE2}" sibTransId="{01376B6E-83C1-FD40-BB26-6F473ADF95F7}"/>
    <dgm:cxn modelId="{A5686FE3-2425-F84A-ABBA-35EF031827A7}" type="presOf" srcId="{1DB25687-4266-6F46-803A-37F1633BFF71}" destId="{86392661-BAAD-1049-8395-698597C5617A}" srcOrd="0" destOrd="0" presId="urn:microsoft.com/office/officeart/2005/8/layout/hProcess9"/>
    <dgm:cxn modelId="{EA9ABBE3-7E8B-A74D-88F4-58C0DC590DBF}" type="presOf" srcId="{BF610562-7C14-2641-B2D9-8114B19A1C16}" destId="{C2C430A7-EDD2-F44F-B306-32A12E4F01A1}" srcOrd="0" destOrd="0" presId="urn:microsoft.com/office/officeart/2005/8/layout/hProcess9"/>
    <dgm:cxn modelId="{F46919F0-EC05-3D47-A419-DD986ECD777A}" srcId="{1DB25687-4266-6F46-803A-37F1633BFF71}" destId="{978FA7FF-C926-2A42-832A-9B0888845027}" srcOrd="0" destOrd="0" parTransId="{81942E76-2A5A-E44B-B1B4-3458761D1810}" sibTransId="{623A6EAB-4C2E-AD47-8356-4827E84A618F}"/>
    <dgm:cxn modelId="{90CC022D-C4F5-AA4D-9603-007E610EAC9C}" type="presParOf" srcId="{86392661-BAAD-1049-8395-698597C5617A}" destId="{E314B892-F3F3-6C4A-9F9E-493F857DB4C8}" srcOrd="0" destOrd="0" presId="urn:microsoft.com/office/officeart/2005/8/layout/hProcess9"/>
    <dgm:cxn modelId="{7D97772C-E48C-AE4B-8EF1-2A6D81F17052}" type="presParOf" srcId="{86392661-BAAD-1049-8395-698597C5617A}" destId="{BC05E574-3B46-5C42-8FBB-57BBD9212869}" srcOrd="1" destOrd="0" presId="urn:microsoft.com/office/officeart/2005/8/layout/hProcess9"/>
    <dgm:cxn modelId="{B3745272-553D-3D44-9CAE-E19A0B6406DE}" type="presParOf" srcId="{BC05E574-3B46-5C42-8FBB-57BBD9212869}" destId="{82B49846-8028-D54A-A1D1-24884C9A9CD5}" srcOrd="0" destOrd="0" presId="urn:microsoft.com/office/officeart/2005/8/layout/hProcess9"/>
    <dgm:cxn modelId="{5B183C6B-7343-C54E-B4CE-8EED0E29EFFB}" type="presParOf" srcId="{BC05E574-3B46-5C42-8FBB-57BBD9212869}" destId="{CDE77A53-7E79-2A40-B537-9EC73F25DFD5}" srcOrd="1" destOrd="0" presId="urn:microsoft.com/office/officeart/2005/8/layout/hProcess9"/>
    <dgm:cxn modelId="{00620590-5CDA-B74C-98D8-017E4D345C82}" type="presParOf" srcId="{BC05E574-3B46-5C42-8FBB-57BBD9212869}" destId="{94F57D72-0620-794D-9A42-23F4A7C42421}" srcOrd="2" destOrd="0" presId="urn:microsoft.com/office/officeart/2005/8/layout/hProcess9"/>
    <dgm:cxn modelId="{E7A9EA46-CFF9-4342-9C25-922D72D2DC29}" type="presParOf" srcId="{BC05E574-3B46-5C42-8FBB-57BBD9212869}" destId="{0D63948C-1C53-E545-A828-E06E73ED4DBE}" srcOrd="3" destOrd="0" presId="urn:microsoft.com/office/officeart/2005/8/layout/hProcess9"/>
    <dgm:cxn modelId="{824A6B08-9F55-9040-834C-2C43DECEDEFA}" type="presParOf" srcId="{BC05E574-3B46-5C42-8FBB-57BBD9212869}" destId="{C2C430A7-EDD2-F44F-B306-32A12E4F01A1}" srcOrd="4" destOrd="0" presId="urn:microsoft.com/office/officeart/2005/8/layout/hProcess9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30C7B7D9-7611-E14C-BF3E-C32658D2AFE1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573B666-DD62-3440-804F-4C401B0A5E3F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000" i="1" dirty="0" err="1">
              <a:solidFill>
                <a:schemeClr val="tx1"/>
              </a:solidFill>
            </a:rPr>
            <a:t>Tính</a:t>
          </a:r>
          <a:r>
            <a:rPr lang="en-GB" sz="2000" i="1" dirty="0">
              <a:solidFill>
                <a:schemeClr val="tx1"/>
              </a:solidFill>
            </a:rPr>
            <a:t> </a:t>
          </a:r>
          <a:r>
            <a:rPr lang="en-GB" sz="2000" i="1" dirty="0" err="1">
              <a:solidFill>
                <a:schemeClr val="tx1"/>
              </a:solidFill>
            </a:rPr>
            <a:t>nghiêm</a:t>
          </a:r>
          <a:r>
            <a:rPr lang="en-GB" sz="2000" i="1" dirty="0">
              <a:solidFill>
                <a:schemeClr val="tx1"/>
              </a:solidFill>
            </a:rPr>
            <a:t> </a:t>
          </a:r>
          <a:r>
            <a:rPr lang="en-GB" sz="2000" i="1" dirty="0" err="1">
              <a:solidFill>
                <a:schemeClr val="tx1"/>
              </a:solidFill>
            </a:rPr>
            <a:t>trọng</a:t>
          </a:r>
          <a:endParaRPr lang="en-GB" sz="2000" i="1" dirty="0">
            <a:solidFill>
              <a:schemeClr val="tx1"/>
            </a:solidFill>
          </a:endParaRPr>
        </a:p>
        <a:p>
          <a:r>
            <a:rPr lang="en-GB" sz="2000" dirty="0" err="1">
              <a:solidFill>
                <a:schemeClr val="tx1"/>
              </a:solidFill>
            </a:rPr>
            <a:t>Biểu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iện</a:t>
          </a:r>
          <a:r>
            <a:rPr lang="en-GB" sz="2000" dirty="0">
              <a:solidFill>
                <a:schemeClr val="tx1"/>
              </a:solidFill>
            </a:rPr>
            <a:t> qua:</a:t>
          </a:r>
        </a:p>
        <a:p>
          <a:r>
            <a:rPr lang="en-GB" sz="2000" dirty="0">
              <a:solidFill>
                <a:schemeClr val="tx1"/>
              </a:solidFill>
            </a:rPr>
            <a:t>1.  </a:t>
          </a:r>
          <a:r>
            <a:rPr lang="en-GB" sz="2000" dirty="0" err="1">
              <a:solidFill>
                <a:schemeClr val="tx1"/>
              </a:solidFill>
            </a:rPr>
            <a:t>Quy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định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luật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pháp</a:t>
          </a:r>
          <a:r>
            <a:rPr lang="en-GB" sz="2000" dirty="0">
              <a:solidFill>
                <a:schemeClr val="tx1"/>
              </a:solidFill>
            </a:rPr>
            <a:t>. </a:t>
          </a:r>
          <a:r>
            <a:rPr lang="en-GB" sz="2000" dirty="0" err="1">
              <a:solidFill>
                <a:schemeClr val="tx1"/>
              </a:solidFill>
            </a:rPr>
            <a:t>Ví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dụ</a:t>
          </a:r>
          <a:r>
            <a:rPr lang="en-GB" sz="2000" dirty="0">
              <a:solidFill>
                <a:schemeClr val="tx1"/>
              </a:solidFill>
            </a:rPr>
            <a:t>: </a:t>
          </a:r>
          <a:r>
            <a:rPr lang="en-GB" sz="2000" dirty="0" err="1">
              <a:solidFill>
                <a:schemeClr val="tx1"/>
              </a:solidFill>
            </a:rPr>
            <a:t>xâ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ạ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ình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dục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rẻ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e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được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xét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vào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xâ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ạ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rẻ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em</a:t>
          </a:r>
          <a:r>
            <a:rPr lang="en-GB" sz="2000" dirty="0">
              <a:solidFill>
                <a:schemeClr val="tx1"/>
              </a:solidFill>
            </a:rPr>
            <a:t>. </a:t>
          </a:r>
        </a:p>
        <a:p>
          <a:r>
            <a:rPr lang="en-GB" sz="2000" dirty="0">
              <a:solidFill>
                <a:schemeClr val="tx1"/>
              </a:solidFill>
            </a:rPr>
            <a:t>2. </a:t>
          </a:r>
          <a:r>
            <a:rPr lang="en-GB" sz="2000" dirty="0" err="1">
              <a:solidFill>
                <a:schemeClr val="tx1"/>
              </a:solidFill>
            </a:rPr>
            <a:t>Các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ông</a:t>
          </a:r>
          <a:r>
            <a:rPr lang="en-GB" sz="2000" dirty="0">
              <a:solidFill>
                <a:schemeClr val="tx1"/>
              </a:solidFill>
            </a:rPr>
            <a:t> tin </a:t>
          </a:r>
          <a:r>
            <a:rPr lang="en-GB" sz="2000" dirty="0" err="1">
              <a:solidFill>
                <a:schemeClr val="tx1"/>
              </a:solidFill>
            </a:rPr>
            <a:t>cho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ấy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oặc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dườ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hư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ho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ấy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mức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độ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ghiê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rọ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ủa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hữ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gì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đã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xảy</a:t>
          </a:r>
          <a:r>
            <a:rPr lang="en-GB" sz="2000" dirty="0">
              <a:solidFill>
                <a:schemeClr val="tx1"/>
              </a:solidFill>
            </a:rPr>
            <a:t> ra.</a:t>
          </a:r>
        </a:p>
        <a:p>
          <a:r>
            <a:rPr lang="en-GB" sz="2000" dirty="0">
              <a:solidFill>
                <a:schemeClr val="tx1"/>
              </a:solidFill>
            </a:rPr>
            <a:t>3. </a:t>
          </a:r>
          <a:r>
            <a:rPr lang="en-GB" sz="2000" dirty="0" err="1">
              <a:solidFill>
                <a:schemeClr val="tx1"/>
              </a:solidFill>
            </a:rPr>
            <a:t>Cả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hận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hủ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quan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về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một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ành</a:t>
          </a:r>
          <a:r>
            <a:rPr lang="en-GB" sz="2000" dirty="0">
              <a:solidFill>
                <a:schemeClr val="tx1"/>
              </a:solidFill>
            </a:rPr>
            <a:t> vi </a:t>
          </a:r>
          <a:r>
            <a:rPr lang="en-GB" sz="2000" dirty="0" err="1">
              <a:solidFill>
                <a:schemeClr val="tx1"/>
              </a:solidFill>
            </a:rPr>
            <a:t>là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sa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rá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ghiê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rọng</a:t>
          </a:r>
          <a:r>
            <a:rPr lang="en-GB" sz="2000" dirty="0">
              <a:solidFill>
                <a:schemeClr val="tx1"/>
              </a:solidFill>
            </a:rPr>
            <a:t>.</a:t>
          </a:r>
        </a:p>
      </dgm:t>
    </dgm:pt>
    <dgm:pt modelId="{1AF8413F-554C-DD47-84E2-226FB578420C}" type="parTrans" cxnId="{E6ED5FEB-8DC1-0341-9455-C075271EE53A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ED855FE2-D8C0-1748-B45A-FC50B35F771D}" type="sibTrans" cxnId="{E6ED5FEB-8DC1-0341-9455-C075271EE53A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A8FAB7D2-0618-2440-876B-82196726F081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000" i="1" dirty="0" err="1">
              <a:solidFill>
                <a:schemeClr val="tx1"/>
              </a:solidFill>
            </a:rPr>
            <a:t>Hành</a:t>
          </a:r>
          <a:r>
            <a:rPr lang="en-GB" sz="2000" i="1" dirty="0">
              <a:solidFill>
                <a:schemeClr val="tx1"/>
              </a:solidFill>
            </a:rPr>
            <a:t> vi </a:t>
          </a:r>
          <a:r>
            <a:rPr lang="en-GB" sz="2000" i="1" dirty="0" err="1">
              <a:solidFill>
                <a:schemeClr val="tx1"/>
              </a:solidFill>
            </a:rPr>
            <a:t>thiếu</a:t>
          </a:r>
          <a:r>
            <a:rPr lang="en-GB" sz="2000" i="1" dirty="0">
              <a:solidFill>
                <a:schemeClr val="tx1"/>
              </a:solidFill>
            </a:rPr>
            <a:t> </a:t>
          </a:r>
          <a:r>
            <a:rPr lang="en-GB" sz="2000" i="1" dirty="0" err="1">
              <a:solidFill>
                <a:schemeClr val="tx1"/>
              </a:solidFill>
            </a:rPr>
            <a:t>sót</a:t>
          </a:r>
          <a:endParaRPr lang="en-GB" sz="2000" i="1" dirty="0">
            <a:solidFill>
              <a:schemeClr val="tx1"/>
            </a:solidFill>
          </a:endParaRPr>
        </a:p>
        <a:p>
          <a:r>
            <a:rPr lang="en-GB" sz="2000" dirty="0" err="1">
              <a:solidFill>
                <a:schemeClr val="tx1"/>
              </a:solidFill>
            </a:rPr>
            <a:t>Thông</a:t>
          </a:r>
          <a:r>
            <a:rPr lang="en-GB" sz="2000" dirty="0">
              <a:solidFill>
                <a:schemeClr val="tx1"/>
              </a:solidFill>
            </a:rPr>
            <a:t> tin </a:t>
          </a:r>
          <a:r>
            <a:rPr lang="en-GB" sz="2000" dirty="0" err="1">
              <a:solidFill>
                <a:schemeClr val="tx1"/>
              </a:solidFill>
            </a:rPr>
            <a:t>dườ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hư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ho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ấy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rằ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một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gườ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khác</a:t>
          </a:r>
          <a:r>
            <a:rPr lang="en-GB" sz="2000" dirty="0">
              <a:solidFill>
                <a:schemeClr val="tx1"/>
              </a:solidFill>
            </a:rPr>
            <a:t> [</a:t>
          </a:r>
          <a:r>
            <a:rPr lang="en-GB" sz="2000" dirty="0" err="1">
              <a:solidFill>
                <a:schemeClr val="tx1"/>
              </a:solidFill>
            </a:rPr>
            <a:t>ngườ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lớn</a:t>
          </a:r>
          <a:r>
            <a:rPr lang="en-GB" sz="2000" dirty="0">
              <a:solidFill>
                <a:schemeClr val="tx1"/>
              </a:solidFill>
            </a:rPr>
            <a:t>/</a:t>
          </a:r>
          <a:r>
            <a:rPr lang="en-GB" sz="2000" dirty="0" err="1">
              <a:solidFill>
                <a:schemeClr val="tx1"/>
              </a:solidFill>
            </a:rPr>
            <a:t>trẻ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em</a:t>
          </a:r>
          <a:r>
            <a:rPr lang="en-GB" sz="2000" dirty="0">
              <a:solidFill>
                <a:schemeClr val="tx1"/>
              </a:solidFill>
            </a:rPr>
            <a:t>] </a:t>
          </a:r>
          <a:r>
            <a:rPr lang="en-GB" sz="2000" dirty="0" err="1">
              <a:solidFill>
                <a:schemeClr val="tx1"/>
              </a:solidFill>
            </a:rPr>
            <a:t>một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ách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ó</a:t>
          </a:r>
          <a:r>
            <a:rPr lang="en-GB" sz="2000" dirty="0">
              <a:solidFill>
                <a:schemeClr val="tx1"/>
              </a:solidFill>
            </a:rPr>
            <a:t> ý </a:t>
          </a:r>
          <a:r>
            <a:rPr lang="en-GB" sz="2000" dirty="0" err="1">
              <a:solidFill>
                <a:schemeClr val="tx1"/>
              </a:solidFill>
            </a:rPr>
            <a:t>thức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ó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ành</a:t>
          </a:r>
          <a:r>
            <a:rPr lang="en-GB" sz="2000" dirty="0">
              <a:solidFill>
                <a:schemeClr val="tx1"/>
              </a:solidFill>
            </a:rPr>
            <a:t> vi </a:t>
          </a:r>
          <a:r>
            <a:rPr lang="en-GB" sz="2000" dirty="0" err="1">
              <a:solidFill>
                <a:schemeClr val="tx1"/>
              </a:solidFill>
            </a:rPr>
            <a:t>thiếu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sót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và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ó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ể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hận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ấy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được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rằ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ành</a:t>
          </a:r>
          <a:r>
            <a:rPr lang="en-GB" sz="2000" dirty="0">
              <a:solidFill>
                <a:schemeClr val="tx1"/>
              </a:solidFill>
            </a:rPr>
            <a:t> vi </a:t>
          </a:r>
          <a:r>
            <a:rPr lang="en-GB" sz="2000" dirty="0" err="1">
              <a:solidFill>
                <a:schemeClr val="tx1"/>
              </a:solidFill>
            </a:rPr>
            <a:t>thiếu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sót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đó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ó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hể</a:t>
          </a:r>
          <a:r>
            <a:rPr lang="en-GB" sz="2000" dirty="0">
              <a:solidFill>
                <a:schemeClr val="tx1"/>
              </a:solidFill>
            </a:rPr>
            <a:t> mang </a:t>
          </a:r>
          <a:r>
            <a:rPr lang="en-GB" sz="2000" dirty="0" err="1">
              <a:solidFill>
                <a:schemeClr val="tx1"/>
              </a:solidFill>
            </a:rPr>
            <a:t>lạ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hậu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quả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ghiê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rọng</a:t>
          </a:r>
          <a:endParaRPr lang="en-GB" sz="2000" dirty="0">
            <a:solidFill>
              <a:schemeClr val="tx1"/>
            </a:solidFill>
          </a:endParaRPr>
        </a:p>
      </dgm:t>
    </dgm:pt>
    <dgm:pt modelId="{BF572AED-6CCC-1E44-BE2B-7649F55EB619}" type="parTrans" cxnId="{1018E779-A719-854A-BC6A-28D225285D5F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053A06A5-CEF8-D245-98AD-5797C5A98DD1}" type="sibTrans" cxnId="{1018E779-A719-854A-BC6A-28D225285D5F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7C608AEE-38B7-AE49-9532-0D4C462BBEA3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000" i="1" dirty="0">
              <a:solidFill>
                <a:schemeClr val="tx1"/>
              </a:solidFill>
            </a:rPr>
            <a:t>Quan </a:t>
          </a:r>
          <a:r>
            <a:rPr lang="en-GB" sz="2000" i="1" dirty="0" err="1">
              <a:solidFill>
                <a:schemeClr val="tx1"/>
              </a:solidFill>
            </a:rPr>
            <a:t>ngại</a:t>
          </a:r>
          <a:r>
            <a:rPr lang="en-GB" sz="2000" i="1" dirty="0">
              <a:solidFill>
                <a:schemeClr val="tx1"/>
              </a:solidFill>
            </a:rPr>
            <a:t> </a:t>
          </a:r>
          <a:r>
            <a:rPr lang="en-GB" sz="2000" i="1" dirty="0" err="1">
              <a:solidFill>
                <a:schemeClr val="tx1"/>
              </a:solidFill>
            </a:rPr>
            <a:t>về</a:t>
          </a:r>
          <a:r>
            <a:rPr lang="en-GB" sz="2000" i="1" dirty="0">
              <a:solidFill>
                <a:schemeClr val="tx1"/>
              </a:solidFill>
            </a:rPr>
            <a:t> </a:t>
          </a:r>
          <a:r>
            <a:rPr lang="en-GB" sz="2000" i="1" dirty="0" err="1">
              <a:solidFill>
                <a:schemeClr val="tx1"/>
              </a:solidFill>
            </a:rPr>
            <a:t>nguy</a:t>
          </a:r>
          <a:r>
            <a:rPr lang="en-GB" sz="2000" i="1" dirty="0">
              <a:solidFill>
                <a:schemeClr val="tx1"/>
              </a:solidFill>
            </a:rPr>
            <a:t> </a:t>
          </a:r>
          <a:r>
            <a:rPr lang="en-GB" sz="2000" i="1" dirty="0" err="1">
              <a:solidFill>
                <a:schemeClr val="tx1"/>
              </a:solidFill>
            </a:rPr>
            <a:t>cơ</a:t>
          </a:r>
          <a:endParaRPr lang="en-GB" sz="2000" i="1" dirty="0">
            <a:solidFill>
              <a:schemeClr val="tx1"/>
            </a:solidFill>
          </a:endParaRPr>
        </a:p>
        <a:p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c thông tin dường như cho thấy trẻ có thể bị tổn hại hoặc tổn hại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hêm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lần nữa nếu không có 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an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hiệp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nào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được thực hiện</a:t>
          </a:r>
          <a:r>
            <a:rPr lang="en-GB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.</a:t>
          </a:r>
        </a:p>
      </dgm:t>
    </dgm:pt>
    <dgm:pt modelId="{EF824AD0-8AA9-5246-921A-E603B150D6C0}" type="parTrans" cxnId="{FB88DCD5-651F-B746-AA79-4032E21184CF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FFF98CAD-7987-1743-AF49-40B541612D97}" type="sibTrans" cxnId="{FB88DCD5-651F-B746-AA79-4032E21184CF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660DDB09-2455-1144-9A39-9B65FC0254EE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000" i="1" dirty="0" err="1">
              <a:solidFill>
                <a:schemeClr val="tx1"/>
              </a:solidFill>
            </a:rPr>
            <a:t>Cảm</a:t>
          </a:r>
          <a:r>
            <a:rPr lang="en-GB" sz="2000" i="1" dirty="0">
              <a:solidFill>
                <a:schemeClr val="tx1"/>
              </a:solidFill>
            </a:rPr>
            <a:t> </a:t>
          </a:r>
          <a:r>
            <a:rPr lang="en-GB" sz="2000" i="1" dirty="0" err="1">
              <a:solidFill>
                <a:schemeClr val="tx1"/>
              </a:solidFill>
            </a:rPr>
            <a:t>nhận</a:t>
          </a:r>
          <a:endParaRPr lang="en-GB" sz="2000" i="1" dirty="0">
            <a:solidFill>
              <a:schemeClr val="tx1"/>
            </a:solidFill>
          </a:endParaRPr>
        </a:p>
        <a:p>
          <a:r>
            <a:rPr lang="en-GB" sz="2000" dirty="0" err="1">
              <a:solidFill>
                <a:schemeClr val="tx1"/>
              </a:solidFill>
            </a:rPr>
            <a:t>Cảm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nhận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hủ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quan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rằ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có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điều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gì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đó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không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ổn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với</a:t>
          </a:r>
          <a:r>
            <a:rPr lang="en-GB" sz="2000" dirty="0">
              <a:solidFill>
                <a:schemeClr val="tx1"/>
              </a:solidFill>
            </a:rPr>
            <a:t> </a:t>
          </a:r>
          <a:r>
            <a:rPr lang="en-GB" sz="2000" dirty="0" err="1">
              <a:solidFill>
                <a:schemeClr val="tx1"/>
              </a:solidFill>
            </a:rPr>
            <a:t>trẻ</a:t>
          </a:r>
          <a:r>
            <a:rPr lang="en-GB" sz="2000" dirty="0">
              <a:solidFill>
                <a:schemeClr val="tx1"/>
              </a:solidFill>
            </a:rPr>
            <a:t>.</a:t>
          </a:r>
        </a:p>
      </dgm:t>
    </dgm:pt>
    <dgm:pt modelId="{6CE44408-7E28-EA46-8D0D-4D0F0C226D22}" type="parTrans" cxnId="{CB065AD1-915B-B142-BA76-A0B58CCCCE2E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3C14BA15-C11E-874D-A06A-60798AD94ED7}" type="sibTrans" cxnId="{CB065AD1-915B-B142-BA76-A0B58CCCCE2E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7B6C6997-D4A1-DA4B-BD51-E0B704B474D0}" type="pres">
      <dgm:prSet presAssocID="{30C7B7D9-7611-E14C-BF3E-C32658D2AFE1}" presName="matrix" presStyleCnt="0">
        <dgm:presLayoutVars>
          <dgm:chMax val="1"/>
          <dgm:dir/>
          <dgm:resizeHandles val="exact"/>
        </dgm:presLayoutVars>
      </dgm:prSet>
      <dgm:spPr/>
    </dgm:pt>
    <dgm:pt modelId="{3338BDA5-B5FE-3942-8B1B-80F80D484808}" type="pres">
      <dgm:prSet presAssocID="{30C7B7D9-7611-E14C-BF3E-C32658D2AFE1}" presName="diamond" presStyleLbl="bgShp" presStyleIdx="0" presStyleCnt="1"/>
      <dgm:spPr/>
    </dgm:pt>
    <dgm:pt modelId="{0B5ECEC9-CE9B-4E43-B722-92DA76DFCDB9}" type="pres">
      <dgm:prSet presAssocID="{30C7B7D9-7611-E14C-BF3E-C32658D2AFE1}" presName="quad1" presStyleLbl="node1" presStyleIdx="0" presStyleCnt="4" custScaleX="283893" custScaleY="130638" custLinFactNeighborX="-64911" custLinFactNeighborY="-1609">
        <dgm:presLayoutVars>
          <dgm:chMax val="0"/>
          <dgm:chPref val="0"/>
          <dgm:bulletEnabled val="1"/>
        </dgm:presLayoutVars>
      </dgm:prSet>
      <dgm:spPr/>
    </dgm:pt>
    <dgm:pt modelId="{3AA6E1A6-D678-6045-9F25-CE5933D0E61E}" type="pres">
      <dgm:prSet presAssocID="{30C7B7D9-7611-E14C-BF3E-C32658D2AFE1}" presName="quad2" presStyleLbl="node1" presStyleIdx="1" presStyleCnt="4" custScaleX="201833" custLinFactNeighborX="89050" custLinFactNeighborY="-3219">
        <dgm:presLayoutVars>
          <dgm:chMax val="0"/>
          <dgm:chPref val="0"/>
          <dgm:bulletEnabled val="1"/>
        </dgm:presLayoutVars>
      </dgm:prSet>
      <dgm:spPr/>
    </dgm:pt>
    <dgm:pt modelId="{B755272D-55F5-6347-A8DB-C357DCA79C31}" type="pres">
      <dgm:prSet presAssocID="{30C7B7D9-7611-E14C-BF3E-C32658D2AFE1}" presName="quad3" presStyleLbl="node1" presStyleIdx="2" presStyleCnt="4" custScaleX="225631" custScaleY="88228" custLinFactNeighborX="-91257" custLinFactNeighborY="20828">
        <dgm:presLayoutVars>
          <dgm:chMax val="0"/>
          <dgm:chPref val="0"/>
          <dgm:bulletEnabled val="1"/>
        </dgm:presLayoutVars>
      </dgm:prSet>
      <dgm:spPr/>
    </dgm:pt>
    <dgm:pt modelId="{47A9B6E0-1753-FC44-B7DD-EC0CA8C4E677}" type="pres">
      <dgm:prSet presAssocID="{30C7B7D9-7611-E14C-BF3E-C32658D2AFE1}" presName="quad4" presStyleLbl="node1" presStyleIdx="3" presStyleCnt="4" custScaleX="172599" custLinFactNeighborX="81540" custLinFactNeighborY="9338">
        <dgm:presLayoutVars>
          <dgm:chMax val="0"/>
          <dgm:chPref val="0"/>
          <dgm:bulletEnabled val="1"/>
        </dgm:presLayoutVars>
      </dgm:prSet>
      <dgm:spPr/>
    </dgm:pt>
  </dgm:ptLst>
  <dgm:cxnLst>
    <dgm:cxn modelId="{A66F651B-EC5C-4B40-972F-3C62C73669E7}" type="presOf" srcId="{30C7B7D9-7611-E14C-BF3E-C32658D2AFE1}" destId="{7B6C6997-D4A1-DA4B-BD51-E0B704B474D0}" srcOrd="0" destOrd="0" presId="urn:microsoft.com/office/officeart/2005/8/layout/matrix3"/>
    <dgm:cxn modelId="{A152501E-1393-FE43-8819-4B6B41849C1D}" type="presOf" srcId="{A8FAB7D2-0618-2440-876B-82196726F081}" destId="{3AA6E1A6-D678-6045-9F25-CE5933D0E61E}" srcOrd="0" destOrd="0" presId="urn:microsoft.com/office/officeart/2005/8/layout/matrix3"/>
    <dgm:cxn modelId="{C937866B-8262-AA4F-A16D-303B131235B7}" type="presOf" srcId="{660DDB09-2455-1144-9A39-9B65FC0254EE}" destId="{47A9B6E0-1753-FC44-B7DD-EC0CA8C4E677}" srcOrd="0" destOrd="0" presId="urn:microsoft.com/office/officeart/2005/8/layout/matrix3"/>
    <dgm:cxn modelId="{1018E779-A719-854A-BC6A-28D225285D5F}" srcId="{30C7B7D9-7611-E14C-BF3E-C32658D2AFE1}" destId="{A8FAB7D2-0618-2440-876B-82196726F081}" srcOrd="1" destOrd="0" parTransId="{BF572AED-6CCC-1E44-BE2B-7649F55EB619}" sibTransId="{053A06A5-CEF8-D245-98AD-5797C5A98DD1}"/>
    <dgm:cxn modelId="{0C2BDF85-9EEF-C941-BF0E-9EA9080CC493}" type="presOf" srcId="{6573B666-DD62-3440-804F-4C401B0A5E3F}" destId="{0B5ECEC9-CE9B-4E43-B722-92DA76DFCDB9}" srcOrd="0" destOrd="0" presId="urn:microsoft.com/office/officeart/2005/8/layout/matrix3"/>
    <dgm:cxn modelId="{9612D5CF-326B-AC41-84E9-44AE00FE95EE}" type="presOf" srcId="{7C608AEE-38B7-AE49-9532-0D4C462BBEA3}" destId="{B755272D-55F5-6347-A8DB-C357DCA79C31}" srcOrd="0" destOrd="0" presId="urn:microsoft.com/office/officeart/2005/8/layout/matrix3"/>
    <dgm:cxn modelId="{CB065AD1-915B-B142-BA76-A0B58CCCCE2E}" srcId="{30C7B7D9-7611-E14C-BF3E-C32658D2AFE1}" destId="{660DDB09-2455-1144-9A39-9B65FC0254EE}" srcOrd="3" destOrd="0" parTransId="{6CE44408-7E28-EA46-8D0D-4D0F0C226D22}" sibTransId="{3C14BA15-C11E-874D-A06A-60798AD94ED7}"/>
    <dgm:cxn modelId="{FB88DCD5-651F-B746-AA79-4032E21184CF}" srcId="{30C7B7D9-7611-E14C-BF3E-C32658D2AFE1}" destId="{7C608AEE-38B7-AE49-9532-0D4C462BBEA3}" srcOrd="2" destOrd="0" parTransId="{EF824AD0-8AA9-5246-921A-E603B150D6C0}" sibTransId="{FFF98CAD-7987-1743-AF49-40B541612D97}"/>
    <dgm:cxn modelId="{E6ED5FEB-8DC1-0341-9455-C075271EE53A}" srcId="{30C7B7D9-7611-E14C-BF3E-C32658D2AFE1}" destId="{6573B666-DD62-3440-804F-4C401B0A5E3F}" srcOrd="0" destOrd="0" parTransId="{1AF8413F-554C-DD47-84E2-226FB578420C}" sibTransId="{ED855FE2-D8C0-1748-B45A-FC50B35F771D}"/>
    <dgm:cxn modelId="{061C27FF-6176-024D-9DDA-1C6668068AE8}" type="presParOf" srcId="{7B6C6997-D4A1-DA4B-BD51-E0B704B474D0}" destId="{3338BDA5-B5FE-3942-8B1B-80F80D484808}" srcOrd="0" destOrd="0" presId="urn:microsoft.com/office/officeart/2005/8/layout/matrix3"/>
    <dgm:cxn modelId="{6194AB47-CEC3-4142-93A7-D706857E14E3}" type="presParOf" srcId="{7B6C6997-D4A1-DA4B-BD51-E0B704B474D0}" destId="{0B5ECEC9-CE9B-4E43-B722-92DA76DFCDB9}" srcOrd="1" destOrd="0" presId="urn:microsoft.com/office/officeart/2005/8/layout/matrix3"/>
    <dgm:cxn modelId="{6510B4D2-BB01-C444-B0E9-0574AEDB5E97}" type="presParOf" srcId="{7B6C6997-D4A1-DA4B-BD51-E0B704B474D0}" destId="{3AA6E1A6-D678-6045-9F25-CE5933D0E61E}" srcOrd="2" destOrd="0" presId="urn:microsoft.com/office/officeart/2005/8/layout/matrix3"/>
    <dgm:cxn modelId="{AE179A30-51C0-FC4A-8522-1E95E1F0C624}" type="presParOf" srcId="{7B6C6997-D4A1-DA4B-BD51-E0B704B474D0}" destId="{B755272D-55F5-6347-A8DB-C357DCA79C31}" srcOrd="3" destOrd="0" presId="urn:microsoft.com/office/officeart/2005/8/layout/matrix3"/>
    <dgm:cxn modelId="{F07E02AB-AAB8-9F43-8FE7-384B2927CD62}" type="presParOf" srcId="{7B6C6997-D4A1-DA4B-BD51-E0B704B474D0}" destId="{47A9B6E0-1753-FC44-B7DD-EC0CA8C4E677}" srcOrd="4" destOrd="0" presId="urn:microsoft.com/office/officeart/2005/8/layout/matrix3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7F56395D-F191-3749-ABF4-39B225C482FF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282733C-D702-744C-9F6E-317ED119C6D3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ần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nhớ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rằng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với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ai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ò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bảo vệ trẻ em thứ cấp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ường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học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,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an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ảo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ệ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ẻ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em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ường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học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sẽ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không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đưa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ra 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quyết định cuối cùng về những gì có thể xảy ra với một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đứa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ẻ</a:t>
          </a:r>
          <a:endParaRPr lang="en-GB" sz="20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A7E8160B-AAE7-5A4E-98E2-0CD84C9A862C}" type="parTrans" cxnId="{96F037ED-BC24-8946-AB00-9D23CBFDC099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6C6C818B-D5F3-EC42-9E43-B79B3E6410CC}" type="sibTrans" cxnId="{96F037ED-BC24-8946-AB00-9D23CBFDC099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5EC9C5BE-AD83-0948-843F-5AF2B02EE330}" type="asst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2000" dirty="0" err="1">
              <a:solidFill>
                <a:schemeClr val="tx1"/>
              </a:solidFill>
            </a:rPr>
            <a:t>Việc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kết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luận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một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trường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hợp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là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xâm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hại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trẻ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em</a:t>
          </a:r>
          <a:r>
            <a:rPr lang="en-US" sz="2000" dirty="0">
              <a:solidFill>
                <a:schemeClr val="tx1"/>
              </a:solidFill>
            </a:rPr>
            <a:t>/</a:t>
          </a:r>
          <a:r>
            <a:rPr lang="en-US" sz="2000" dirty="0" err="1">
              <a:solidFill>
                <a:schemeClr val="tx1"/>
              </a:solidFill>
            </a:rPr>
            <a:t>bảo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vệ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trẻ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em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thuộc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thẩm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quyền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của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cán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bộ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chuyên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trách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bảo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vệ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trẻ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em</a:t>
          </a:r>
          <a:r>
            <a:rPr lang="en-US" sz="2000" dirty="0">
              <a:solidFill>
                <a:schemeClr val="tx1"/>
              </a:solidFill>
            </a:rPr>
            <a:t> </a:t>
          </a:r>
          <a:r>
            <a:rPr lang="en-US" sz="2000" dirty="0" err="1">
              <a:solidFill>
                <a:schemeClr val="tx1"/>
              </a:solidFill>
            </a:rPr>
            <a:t>của</a:t>
          </a:r>
          <a:r>
            <a:rPr lang="en-US" sz="2000" dirty="0">
              <a:solidFill>
                <a:schemeClr val="tx1"/>
              </a:solidFill>
            </a:rPr>
            <a:t> UBND</a:t>
          </a:r>
          <a:endParaRPr lang="en-GB" sz="2000" dirty="0">
            <a:solidFill>
              <a:schemeClr val="tx1"/>
            </a:solidFill>
          </a:endParaRPr>
        </a:p>
      </dgm:t>
    </dgm:pt>
    <dgm:pt modelId="{FAAA387E-3624-6846-B062-D8A4FCE77C4B}" type="parTrans" cxnId="{3A9CF3EC-A9B8-5249-A638-14321EBE2CE9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60024F9D-0414-BC4D-AF10-2EE646793E48}" type="sibTrans" cxnId="{3A9CF3EC-A9B8-5249-A638-14321EBE2CE9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FFFA22CD-5147-244D-BF75-8F7B80353AB5}">
      <dgm:prSet phldrT="[Text]" custT="1"/>
      <dgm:spPr>
        <a:solidFill>
          <a:schemeClr val="bg1"/>
        </a:solidFill>
      </dgm:spPr>
      <dgm:t>
        <a:bodyPr/>
        <a:lstStyle/>
        <a:p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uy nhiên,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ộ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ảo vệ trẻ em của trường học có vai trò quan trọng trong việc tư vấn cho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ộ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BVTE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UBND –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Tôi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qua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n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gại đây có thể là một trường hợp bảo vệ trẻ em dựa trên những gì tôi đã thấy, đã nghe</a:t>
          </a:r>
          <a:endParaRPr lang="en-GB" sz="20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EA428D0-1E92-1D4A-8C89-0924A2F7F459}" type="parTrans" cxnId="{C49EC5CE-6DCC-364C-909F-94AB8AD2F805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7843FA0A-9478-EC43-A256-FDC893D088FF}" type="sibTrans" cxnId="{C49EC5CE-6DCC-364C-909F-94AB8AD2F805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562B2C81-867C-8248-8A9A-457F75AB4076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ộ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bảo vệ trẻ em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ường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học cung cấp cho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ộ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BVTE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UBND</a:t>
          </a:r>
          <a:r>
            <a:rPr lang="vi-VN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c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qua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điểm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dựa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ê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huyê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mô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giáo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dục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ề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lập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luận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mình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ì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sao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“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đây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là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một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ường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hợp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âm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hại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ẻ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em</a:t>
          </a:r>
          <a:r>
            <a:rPr lang="en-US" sz="20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?”</a:t>
          </a:r>
          <a:endParaRPr lang="en-GB" sz="20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3D0C4747-D982-AA4B-9EC0-95B219DE26DB}" type="parTrans" cxnId="{901A4571-B991-B54D-A1DC-5956352DD0DE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7603E512-FCFD-7949-BE6A-14689D99F897}" type="sibTrans" cxnId="{901A4571-B991-B54D-A1DC-5956352DD0DE}">
      <dgm:prSet/>
      <dgm:spPr/>
      <dgm:t>
        <a:bodyPr/>
        <a:lstStyle/>
        <a:p>
          <a:endParaRPr lang="en-GB" sz="2000">
            <a:solidFill>
              <a:schemeClr val="tx1"/>
            </a:solidFill>
          </a:endParaRPr>
        </a:p>
      </dgm:t>
    </dgm:pt>
    <dgm:pt modelId="{3E2FAF4E-552E-EA4D-B52F-0667A98AEB28}" type="pres">
      <dgm:prSet presAssocID="{7F56395D-F191-3749-ABF4-39B225C482F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D17FE253-C751-7D49-AF2B-26F5788FB240}" type="pres">
      <dgm:prSet presAssocID="{2282733C-D702-744C-9F6E-317ED119C6D3}" presName="hierRoot1" presStyleCnt="0">
        <dgm:presLayoutVars>
          <dgm:hierBranch val="init"/>
        </dgm:presLayoutVars>
      </dgm:prSet>
      <dgm:spPr/>
    </dgm:pt>
    <dgm:pt modelId="{04D19D9F-248C-2043-8DBF-59AA77B95D03}" type="pres">
      <dgm:prSet presAssocID="{2282733C-D702-744C-9F6E-317ED119C6D3}" presName="rootComposite1" presStyleCnt="0"/>
      <dgm:spPr/>
    </dgm:pt>
    <dgm:pt modelId="{578A1FF5-9479-6A49-98A6-862CDB845433}" type="pres">
      <dgm:prSet presAssocID="{2282733C-D702-744C-9F6E-317ED119C6D3}" presName="rootText1" presStyleLbl="node0" presStyleIdx="0" presStyleCnt="1" custScaleX="286752">
        <dgm:presLayoutVars>
          <dgm:chPref val="3"/>
        </dgm:presLayoutVars>
      </dgm:prSet>
      <dgm:spPr/>
    </dgm:pt>
    <dgm:pt modelId="{8D7375D6-5B03-2948-BA35-AB8023126CE8}" type="pres">
      <dgm:prSet presAssocID="{2282733C-D702-744C-9F6E-317ED119C6D3}" presName="rootConnector1" presStyleLbl="node1" presStyleIdx="0" presStyleCnt="0"/>
      <dgm:spPr/>
    </dgm:pt>
    <dgm:pt modelId="{2CF79B58-9358-6040-86C6-946176DBCEF3}" type="pres">
      <dgm:prSet presAssocID="{2282733C-D702-744C-9F6E-317ED119C6D3}" presName="hierChild2" presStyleCnt="0"/>
      <dgm:spPr/>
    </dgm:pt>
    <dgm:pt modelId="{9E7FE144-326B-C84C-826B-25DC15CB0623}" type="pres">
      <dgm:prSet presAssocID="{EEA428D0-1E92-1D4A-8C89-0924A2F7F459}" presName="Name37" presStyleLbl="parChTrans1D2" presStyleIdx="0" presStyleCnt="3"/>
      <dgm:spPr/>
    </dgm:pt>
    <dgm:pt modelId="{F1D351AC-0462-3640-854A-B9DD6F49C412}" type="pres">
      <dgm:prSet presAssocID="{FFFA22CD-5147-244D-BF75-8F7B80353AB5}" presName="hierRoot2" presStyleCnt="0">
        <dgm:presLayoutVars>
          <dgm:hierBranch val="init"/>
        </dgm:presLayoutVars>
      </dgm:prSet>
      <dgm:spPr/>
    </dgm:pt>
    <dgm:pt modelId="{C42DE2BB-3A49-1742-928A-D4AE05BA0C77}" type="pres">
      <dgm:prSet presAssocID="{FFFA22CD-5147-244D-BF75-8F7B80353AB5}" presName="rootComposite" presStyleCnt="0"/>
      <dgm:spPr/>
    </dgm:pt>
    <dgm:pt modelId="{270EDDD5-59F6-E045-A78D-8C54051F9E13}" type="pres">
      <dgm:prSet presAssocID="{FFFA22CD-5147-244D-BF75-8F7B80353AB5}" presName="rootText" presStyleLbl="node2" presStyleIdx="0" presStyleCnt="2" custScaleX="167243">
        <dgm:presLayoutVars>
          <dgm:chPref val="3"/>
        </dgm:presLayoutVars>
      </dgm:prSet>
      <dgm:spPr/>
    </dgm:pt>
    <dgm:pt modelId="{819B875B-4AA5-A644-B613-D3D2C7B53E8A}" type="pres">
      <dgm:prSet presAssocID="{FFFA22CD-5147-244D-BF75-8F7B80353AB5}" presName="rootConnector" presStyleLbl="node2" presStyleIdx="0" presStyleCnt="2"/>
      <dgm:spPr/>
    </dgm:pt>
    <dgm:pt modelId="{244AA9E6-7357-1344-85C8-92D54C5658F5}" type="pres">
      <dgm:prSet presAssocID="{FFFA22CD-5147-244D-BF75-8F7B80353AB5}" presName="hierChild4" presStyleCnt="0"/>
      <dgm:spPr/>
    </dgm:pt>
    <dgm:pt modelId="{508AFF58-A9A1-EB4B-977E-0DBB7C27E787}" type="pres">
      <dgm:prSet presAssocID="{FFFA22CD-5147-244D-BF75-8F7B80353AB5}" presName="hierChild5" presStyleCnt="0"/>
      <dgm:spPr/>
    </dgm:pt>
    <dgm:pt modelId="{A5EB4450-3F2C-D94F-841A-C6D0A4C1F10C}" type="pres">
      <dgm:prSet presAssocID="{3D0C4747-D982-AA4B-9EC0-95B219DE26DB}" presName="Name37" presStyleLbl="parChTrans1D2" presStyleIdx="1" presStyleCnt="3"/>
      <dgm:spPr/>
    </dgm:pt>
    <dgm:pt modelId="{968A4ABB-B83E-A449-A1C6-9CAF48731869}" type="pres">
      <dgm:prSet presAssocID="{562B2C81-867C-8248-8A9A-457F75AB4076}" presName="hierRoot2" presStyleCnt="0">
        <dgm:presLayoutVars>
          <dgm:hierBranch val="init"/>
        </dgm:presLayoutVars>
      </dgm:prSet>
      <dgm:spPr/>
    </dgm:pt>
    <dgm:pt modelId="{A504AB0E-61B8-3A41-90D7-D046FB779A01}" type="pres">
      <dgm:prSet presAssocID="{562B2C81-867C-8248-8A9A-457F75AB4076}" presName="rootComposite" presStyleCnt="0"/>
      <dgm:spPr/>
    </dgm:pt>
    <dgm:pt modelId="{FCBD0271-164E-FE46-95FF-65A8984C322C}" type="pres">
      <dgm:prSet presAssocID="{562B2C81-867C-8248-8A9A-457F75AB4076}" presName="rootText" presStyleLbl="node2" presStyleIdx="1" presStyleCnt="2" custScaleX="177053">
        <dgm:presLayoutVars>
          <dgm:chPref val="3"/>
        </dgm:presLayoutVars>
      </dgm:prSet>
      <dgm:spPr/>
    </dgm:pt>
    <dgm:pt modelId="{6D97ECA3-259D-B649-9CE6-9A6CC8FE1E4A}" type="pres">
      <dgm:prSet presAssocID="{562B2C81-867C-8248-8A9A-457F75AB4076}" presName="rootConnector" presStyleLbl="node2" presStyleIdx="1" presStyleCnt="2"/>
      <dgm:spPr/>
    </dgm:pt>
    <dgm:pt modelId="{D2BD749E-E2BE-0244-ACAD-6ACE0EBEE6CB}" type="pres">
      <dgm:prSet presAssocID="{562B2C81-867C-8248-8A9A-457F75AB4076}" presName="hierChild4" presStyleCnt="0"/>
      <dgm:spPr/>
    </dgm:pt>
    <dgm:pt modelId="{3997ABBF-B47C-F142-ABFE-E551BCC2EECC}" type="pres">
      <dgm:prSet presAssocID="{562B2C81-867C-8248-8A9A-457F75AB4076}" presName="hierChild5" presStyleCnt="0"/>
      <dgm:spPr/>
    </dgm:pt>
    <dgm:pt modelId="{55B1D44E-7B7B-7F48-8397-FAD9DE79B141}" type="pres">
      <dgm:prSet presAssocID="{2282733C-D702-744C-9F6E-317ED119C6D3}" presName="hierChild3" presStyleCnt="0"/>
      <dgm:spPr/>
    </dgm:pt>
    <dgm:pt modelId="{1E770270-FCA8-614E-B3D5-3D490CD5792D}" type="pres">
      <dgm:prSet presAssocID="{FAAA387E-3624-6846-B062-D8A4FCE77C4B}" presName="Name111" presStyleLbl="parChTrans1D2" presStyleIdx="2" presStyleCnt="3"/>
      <dgm:spPr/>
    </dgm:pt>
    <dgm:pt modelId="{F03A9851-C35C-5441-8ECE-79D079BBA9A9}" type="pres">
      <dgm:prSet presAssocID="{5EC9C5BE-AD83-0948-843F-5AF2B02EE330}" presName="hierRoot3" presStyleCnt="0">
        <dgm:presLayoutVars>
          <dgm:hierBranch val="init"/>
        </dgm:presLayoutVars>
      </dgm:prSet>
      <dgm:spPr/>
    </dgm:pt>
    <dgm:pt modelId="{AF99C5F4-D799-8146-BAF9-8647680DA4FC}" type="pres">
      <dgm:prSet presAssocID="{5EC9C5BE-AD83-0948-843F-5AF2B02EE330}" presName="rootComposite3" presStyleCnt="0"/>
      <dgm:spPr/>
    </dgm:pt>
    <dgm:pt modelId="{E06601CC-5784-8443-9DD6-713DC011829C}" type="pres">
      <dgm:prSet presAssocID="{5EC9C5BE-AD83-0948-843F-5AF2B02EE330}" presName="rootText3" presStyleLbl="asst1" presStyleIdx="0" presStyleCnt="1" custScaleX="187443">
        <dgm:presLayoutVars>
          <dgm:chPref val="3"/>
        </dgm:presLayoutVars>
      </dgm:prSet>
      <dgm:spPr/>
    </dgm:pt>
    <dgm:pt modelId="{0948102D-A552-554A-9AF5-29E65FFD730B}" type="pres">
      <dgm:prSet presAssocID="{5EC9C5BE-AD83-0948-843F-5AF2B02EE330}" presName="rootConnector3" presStyleLbl="asst1" presStyleIdx="0" presStyleCnt="1"/>
      <dgm:spPr/>
    </dgm:pt>
    <dgm:pt modelId="{0081C413-15B6-064F-AA6F-4E930B29CAF7}" type="pres">
      <dgm:prSet presAssocID="{5EC9C5BE-AD83-0948-843F-5AF2B02EE330}" presName="hierChild6" presStyleCnt="0"/>
      <dgm:spPr/>
    </dgm:pt>
    <dgm:pt modelId="{C02F75B1-359A-E148-87DB-3F62F0EB1ADE}" type="pres">
      <dgm:prSet presAssocID="{5EC9C5BE-AD83-0948-843F-5AF2B02EE330}" presName="hierChild7" presStyleCnt="0"/>
      <dgm:spPr/>
    </dgm:pt>
  </dgm:ptLst>
  <dgm:cxnLst>
    <dgm:cxn modelId="{DA533D01-0EF7-8C43-B6DD-D6EDF7EA494F}" type="presOf" srcId="{562B2C81-867C-8248-8A9A-457F75AB4076}" destId="{6D97ECA3-259D-B649-9CE6-9A6CC8FE1E4A}" srcOrd="1" destOrd="0" presId="urn:microsoft.com/office/officeart/2005/8/layout/orgChart1"/>
    <dgm:cxn modelId="{D36DF00D-B348-D94D-ADC2-3898010D9860}" type="presOf" srcId="{5EC9C5BE-AD83-0948-843F-5AF2B02EE330}" destId="{E06601CC-5784-8443-9DD6-713DC011829C}" srcOrd="0" destOrd="0" presId="urn:microsoft.com/office/officeart/2005/8/layout/orgChart1"/>
    <dgm:cxn modelId="{8060690E-19ED-8E46-98DB-695C7566286D}" type="presOf" srcId="{FFFA22CD-5147-244D-BF75-8F7B80353AB5}" destId="{819B875B-4AA5-A644-B613-D3D2C7B53E8A}" srcOrd="1" destOrd="0" presId="urn:microsoft.com/office/officeart/2005/8/layout/orgChart1"/>
    <dgm:cxn modelId="{F69D551F-D73C-264E-8B4D-9F8904998CE0}" type="presOf" srcId="{7F56395D-F191-3749-ABF4-39B225C482FF}" destId="{3E2FAF4E-552E-EA4D-B52F-0667A98AEB28}" srcOrd="0" destOrd="0" presId="urn:microsoft.com/office/officeart/2005/8/layout/orgChart1"/>
    <dgm:cxn modelId="{CE121922-B131-FD4D-B225-3FACD5C3C815}" type="presOf" srcId="{2282733C-D702-744C-9F6E-317ED119C6D3}" destId="{578A1FF5-9479-6A49-98A6-862CDB845433}" srcOrd="0" destOrd="0" presId="urn:microsoft.com/office/officeart/2005/8/layout/orgChart1"/>
    <dgm:cxn modelId="{E0910C39-7ACC-CA48-BB8A-4C464F840949}" type="presOf" srcId="{5EC9C5BE-AD83-0948-843F-5AF2B02EE330}" destId="{0948102D-A552-554A-9AF5-29E65FFD730B}" srcOrd="1" destOrd="0" presId="urn:microsoft.com/office/officeart/2005/8/layout/orgChart1"/>
    <dgm:cxn modelId="{901A4571-B991-B54D-A1DC-5956352DD0DE}" srcId="{2282733C-D702-744C-9F6E-317ED119C6D3}" destId="{562B2C81-867C-8248-8A9A-457F75AB4076}" srcOrd="2" destOrd="0" parTransId="{3D0C4747-D982-AA4B-9EC0-95B219DE26DB}" sibTransId="{7603E512-FCFD-7949-BE6A-14689D99F897}"/>
    <dgm:cxn modelId="{05D9175A-50A8-A342-8834-A43D347A9CE5}" type="presOf" srcId="{EEA428D0-1E92-1D4A-8C89-0924A2F7F459}" destId="{9E7FE144-326B-C84C-826B-25DC15CB0623}" srcOrd="0" destOrd="0" presId="urn:microsoft.com/office/officeart/2005/8/layout/orgChart1"/>
    <dgm:cxn modelId="{8197DD87-1274-D746-A95D-70AEBBB348DD}" type="presOf" srcId="{3D0C4747-D982-AA4B-9EC0-95B219DE26DB}" destId="{A5EB4450-3F2C-D94F-841A-C6D0A4C1F10C}" srcOrd="0" destOrd="0" presId="urn:microsoft.com/office/officeart/2005/8/layout/orgChart1"/>
    <dgm:cxn modelId="{BD9EE98C-AA27-274D-8389-DA9B24D3F708}" type="presOf" srcId="{FAAA387E-3624-6846-B062-D8A4FCE77C4B}" destId="{1E770270-FCA8-614E-B3D5-3D490CD5792D}" srcOrd="0" destOrd="0" presId="urn:microsoft.com/office/officeart/2005/8/layout/orgChart1"/>
    <dgm:cxn modelId="{46754D8F-65F7-1E47-B436-53F2BBE3E5D3}" type="presOf" srcId="{FFFA22CD-5147-244D-BF75-8F7B80353AB5}" destId="{270EDDD5-59F6-E045-A78D-8C54051F9E13}" srcOrd="0" destOrd="0" presId="urn:microsoft.com/office/officeart/2005/8/layout/orgChart1"/>
    <dgm:cxn modelId="{DE44E1AF-A2F7-C24B-BBC0-76DB20FD76F6}" type="presOf" srcId="{2282733C-D702-744C-9F6E-317ED119C6D3}" destId="{8D7375D6-5B03-2948-BA35-AB8023126CE8}" srcOrd="1" destOrd="0" presId="urn:microsoft.com/office/officeart/2005/8/layout/orgChart1"/>
    <dgm:cxn modelId="{C49EC5CE-6DCC-364C-909F-94AB8AD2F805}" srcId="{2282733C-D702-744C-9F6E-317ED119C6D3}" destId="{FFFA22CD-5147-244D-BF75-8F7B80353AB5}" srcOrd="1" destOrd="0" parTransId="{EEA428D0-1E92-1D4A-8C89-0924A2F7F459}" sibTransId="{7843FA0A-9478-EC43-A256-FDC893D088FF}"/>
    <dgm:cxn modelId="{3A9CF3EC-A9B8-5249-A638-14321EBE2CE9}" srcId="{2282733C-D702-744C-9F6E-317ED119C6D3}" destId="{5EC9C5BE-AD83-0948-843F-5AF2B02EE330}" srcOrd="0" destOrd="0" parTransId="{FAAA387E-3624-6846-B062-D8A4FCE77C4B}" sibTransId="{60024F9D-0414-BC4D-AF10-2EE646793E48}"/>
    <dgm:cxn modelId="{96F037ED-BC24-8946-AB00-9D23CBFDC099}" srcId="{7F56395D-F191-3749-ABF4-39B225C482FF}" destId="{2282733C-D702-744C-9F6E-317ED119C6D3}" srcOrd="0" destOrd="0" parTransId="{A7E8160B-AAE7-5A4E-98E2-0CD84C9A862C}" sibTransId="{6C6C818B-D5F3-EC42-9E43-B79B3E6410CC}"/>
    <dgm:cxn modelId="{E49B9FF2-3EEE-B041-A08D-44512FC40AD4}" type="presOf" srcId="{562B2C81-867C-8248-8A9A-457F75AB4076}" destId="{FCBD0271-164E-FE46-95FF-65A8984C322C}" srcOrd="0" destOrd="0" presId="urn:microsoft.com/office/officeart/2005/8/layout/orgChart1"/>
    <dgm:cxn modelId="{47595749-C22A-344B-AC0B-9A4F59587648}" type="presParOf" srcId="{3E2FAF4E-552E-EA4D-B52F-0667A98AEB28}" destId="{D17FE253-C751-7D49-AF2B-26F5788FB240}" srcOrd="0" destOrd="0" presId="urn:microsoft.com/office/officeart/2005/8/layout/orgChart1"/>
    <dgm:cxn modelId="{4645F21F-423F-FC4F-AD73-2DE01C723D50}" type="presParOf" srcId="{D17FE253-C751-7D49-AF2B-26F5788FB240}" destId="{04D19D9F-248C-2043-8DBF-59AA77B95D03}" srcOrd="0" destOrd="0" presId="urn:microsoft.com/office/officeart/2005/8/layout/orgChart1"/>
    <dgm:cxn modelId="{033221A9-DC4F-074F-B01A-DECBF86A7B86}" type="presParOf" srcId="{04D19D9F-248C-2043-8DBF-59AA77B95D03}" destId="{578A1FF5-9479-6A49-98A6-862CDB845433}" srcOrd="0" destOrd="0" presId="urn:microsoft.com/office/officeart/2005/8/layout/orgChart1"/>
    <dgm:cxn modelId="{79E81CF8-84C1-BC43-BA8B-2BAC97A9222A}" type="presParOf" srcId="{04D19D9F-248C-2043-8DBF-59AA77B95D03}" destId="{8D7375D6-5B03-2948-BA35-AB8023126CE8}" srcOrd="1" destOrd="0" presId="urn:microsoft.com/office/officeart/2005/8/layout/orgChart1"/>
    <dgm:cxn modelId="{FB7B92BE-22F0-234E-91F4-68A98351258C}" type="presParOf" srcId="{D17FE253-C751-7D49-AF2B-26F5788FB240}" destId="{2CF79B58-9358-6040-86C6-946176DBCEF3}" srcOrd="1" destOrd="0" presId="urn:microsoft.com/office/officeart/2005/8/layout/orgChart1"/>
    <dgm:cxn modelId="{7C3E7F56-9085-F94F-8E84-D8361962BC3F}" type="presParOf" srcId="{2CF79B58-9358-6040-86C6-946176DBCEF3}" destId="{9E7FE144-326B-C84C-826B-25DC15CB0623}" srcOrd="0" destOrd="0" presId="urn:microsoft.com/office/officeart/2005/8/layout/orgChart1"/>
    <dgm:cxn modelId="{A3AA6EFB-BC94-254D-9BA7-7690FBEC6B8A}" type="presParOf" srcId="{2CF79B58-9358-6040-86C6-946176DBCEF3}" destId="{F1D351AC-0462-3640-854A-B9DD6F49C412}" srcOrd="1" destOrd="0" presId="urn:microsoft.com/office/officeart/2005/8/layout/orgChart1"/>
    <dgm:cxn modelId="{7DD0FEF9-9F6E-3841-A78D-BA9FEA069AFC}" type="presParOf" srcId="{F1D351AC-0462-3640-854A-B9DD6F49C412}" destId="{C42DE2BB-3A49-1742-928A-D4AE05BA0C77}" srcOrd="0" destOrd="0" presId="urn:microsoft.com/office/officeart/2005/8/layout/orgChart1"/>
    <dgm:cxn modelId="{9E5AB50D-00E9-464B-860F-083B816C516B}" type="presParOf" srcId="{C42DE2BB-3A49-1742-928A-D4AE05BA0C77}" destId="{270EDDD5-59F6-E045-A78D-8C54051F9E13}" srcOrd="0" destOrd="0" presId="urn:microsoft.com/office/officeart/2005/8/layout/orgChart1"/>
    <dgm:cxn modelId="{84C780DE-7FA0-384A-A375-2C4F7E7DFD9F}" type="presParOf" srcId="{C42DE2BB-3A49-1742-928A-D4AE05BA0C77}" destId="{819B875B-4AA5-A644-B613-D3D2C7B53E8A}" srcOrd="1" destOrd="0" presId="urn:microsoft.com/office/officeart/2005/8/layout/orgChart1"/>
    <dgm:cxn modelId="{E9757E84-A2DC-384E-9F5B-34635882C0CC}" type="presParOf" srcId="{F1D351AC-0462-3640-854A-B9DD6F49C412}" destId="{244AA9E6-7357-1344-85C8-92D54C5658F5}" srcOrd="1" destOrd="0" presId="urn:microsoft.com/office/officeart/2005/8/layout/orgChart1"/>
    <dgm:cxn modelId="{AF12795D-0670-E945-B7F6-9FD8ED26F84C}" type="presParOf" srcId="{F1D351AC-0462-3640-854A-B9DD6F49C412}" destId="{508AFF58-A9A1-EB4B-977E-0DBB7C27E787}" srcOrd="2" destOrd="0" presId="urn:microsoft.com/office/officeart/2005/8/layout/orgChart1"/>
    <dgm:cxn modelId="{F6FBB2B6-1B85-8049-A796-8E862285B3EE}" type="presParOf" srcId="{2CF79B58-9358-6040-86C6-946176DBCEF3}" destId="{A5EB4450-3F2C-D94F-841A-C6D0A4C1F10C}" srcOrd="2" destOrd="0" presId="urn:microsoft.com/office/officeart/2005/8/layout/orgChart1"/>
    <dgm:cxn modelId="{8FC98D59-925C-8E4B-943F-2C21B1ED993C}" type="presParOf" srcId="{2CF79B58-9358-6040-86C6-946176DBCEF3}" destId="{968A4ABB-B83E-A449-A1C6-9CAF48731869}" srcOrd="3" destOrd="0" presId="urn:microsoft.com/office/officeart/2005/8/layout/orgChart1"/>
    <dgm:cxn modelId="{55561A46-8D49-4F40-B67F-C0D4A0EDDB32}" type="presParOf" srcId="{968A4ABB-B83E-A449-A1C6-9CAF48731869}" destId="{A504AB0E-61B8-3A41-90D7-D046FB779A01}" srcOrd="0" destOrd="0" presId="urn:microsoft.com/office/officeart/2005/8/layout/orgChart1"/>
    <dgm:cxn modelId="{DBFFAB02-B5C8-724F-93C9-7179542A7AFB}" type="presParOf" srcId="{A504AB0E-61B8-3A41-90D7-D046FB779A01}" destId="{FCBD0271-164E-FE46-95FF-65A8984C322C}" srcOrd="0" destOrd="0" presId="urn:microsoft.com/office/officeart/2005/8/layout/orgChart1"/>
    <dgm:cxn modelId="{630231F5-B68F-6C4F-9F13-AA986F3AB1A3}" type="presParOf" srcId="{A504AB0E-61B8-3A41-90D7-D046FB779A01}" destId="{6D97ECA3-259D-B649-9CE6-9A6CC8FE1E4A}" srcOrd="1" destOrd="0" presId="urn:microsoft.com/office/officeart/2005/8/layout/orgChart1"/>
    <dgm:cxn modelId="{8BCE512A-1EF3-704C-8C3D-CE075C4ECE2E}" type="presParOf" srcId="{968A4ABB-B83E-A449-A1C6-9CAF48731869}" destId="{D2BD749E-E2BE-0244-ACAD-6ACE0EBEE6CB}" srcOrd="1" destOrd="0" presId="urn:microsoft.com/office/officeart/2005/8/layout/orgChart1"/>
    <dgm:cxn modelId="{49AA5A65-940E-C348-B45D-41AD4DC669F1}" type="presParOf" srcId="{968A4ABB-B83E-A449-A1C6-9CAF48731869}" destId="{3997ABBF-B47C-F142-ABFE-E551BCC2EECC}" srcOrd="2" destOrd="0" presId="urn:microsoft.com/office/officeart/2005/8/layout/orgChart1"/>
    <dgm:cxn modelId="{4B506EEB-A5C6-D94C-A7C8-B059766FDA14}" type="presParOf" srcId="{D17FE253-C751-7D49-AF2B-26F5788FB240}" destId="{55B1D44E-7B7B-7F48-8397-FAD9DE79B141}" srcOrd="2" destOrd="0" presId="urn:microsoft.com/office/officeart/2005/8/layout/orgChart1"/>
    <dgm:cxn modelId="{659912B0-FADE-2D4B-AA05-D9287AB1D2D1}" type="presParOf" srcId="{55B1D44E-7B7B-7F48-8397-FAD9DE79B141}" destId="{1E770270-FCA8-614E-B3D5-3D490CD5792D}" srcOrd="0" destOrd="0" presId="urn:microsoft.com/office/officeart/2005/8/layout/orgChart1"/>
    <dgm:cxn modelId="{29FED566-C521-164D-A541-3A72AABD9EB8}" type="presParOf" srcId="{55B1D44E-7B7B-7F48-8397-FAD9DE79B141}" destId="{F03A9851-C35C-5441-8ECE-79D079BBA9A9}" srcOrd="1" destOrd="0" presId="urn:microsoft.com/office/officeart/2005/8/layout/orgChart1"/>
    <dgm:cxn modelId="{7BFB3D0A-FBE6-C849-840C-7285CAA575E0}" type="presParOf" srcId="{F03A9851-C35C-5441-8ECE-79D079BBA9A9}" destId="{AF99C5F4-D799-8146-BAF9-8647680DA4FC}" srcOrd="0" destOrd="0" presId="urn:microsoft.com/office/officeart/2005/8/layout/orgChart1"/>
    <dgm:cxn modelId="{0045F7F6-163D-284F-98F8-B0D3C038C3B4}" type="presParOf" srcId="{AF99C5F4-D799-8146-BAF9-8647680DA4FC}" destId="{E06601CC-5784-8443-9DD6-713DC011829C}" srcOrd="0" destOrd="0" presId="urn:microsoft.com/office/officeart/2005/8/layout/orgChart1"/>
    <dgm:cxn modelId="{8FC68861-744B-A140-87B4-88D267831427}" type="presParOf" srcId="{AF99C5F4-D799-8146-BAF9-8647680DA4FC}" destId="{0948102D-A552-554A-9AF5-29E65FFD730B}" srcOrd="1" destOrd="0" presId="urn:microsoft.com/office/officeart/2005/8/layout/orgChart1"/>
    <dgm:cxn modelId="{23125A33-7D4A-2342-9010-D3C92F317F1A}" type="presParOf" srcId="{F03A9851-C35C-5441-8ECE-79D079BBA9A9}" destId="{0081C413-15B6-064F-AA6F-4E930B29CAF7}" srcOrd="1" destOrd="0" presId="urn:microsoft.com/office/officeart/2005/8/layout/orgChart1"/>
    <dgm:cxn modelId="{0856EE46-804C-E843-9858-F1A48FAC0F1F}" type="presParOf" srcId="{F03A9851-C35C-5441-8ECE-79D079BBA9A9}" destId="{C02F75B1-359A-E148-87DB-3F62F0EB1ADE}" srcOrd="2" destOrd="0" presId="urn:microsoft.com/office/officeart/2005/8/layout/orgChart1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F56ECDCF-61B8-3A47-A076-5E3E96FC5BFE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42663633-7C89-DC40-BD9D-231640AC143D}">
      <dgm:prSet phldrT="[Text]" custT="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ịnh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uẩn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ướng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ẫn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ề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ế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ào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ại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ề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endParaRPr lang="en-GB" sz="36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E6F55792-A608-D84B-B402-3F75FE7BABCF}" type="parTrans" cxnId="{3E11C774-57E5-C645-9BA5-C6F6359ABCCD}">
      <dgm:prSet/>
      <dgm:spPr/>
      <dgm:t>
        <a:bodyPr/>
        <a:lstStyle/>
        <a:p>
          <a:endParaRPr lang="en-GB" sz="3600">
            <a:solidFill>
              <a:schemeClr val="tx1"/>
            </a:solidFill>
          </a:endParaRPr>
        </a:p>
      </dgm:t>
    </dgm:pt>
    <dgm:pt modelId="{5EE76CA6-9DCB-BF41-8525-40CE412DD88D}" type="sibTrans" cxnId="{3E11C774-57E5-C645-9BA5-C6F6359ABCCD}">
      <dgm:prSet custT="1"/>
      <dgm:spPr/>
      <dgm:t>
        <a:bodyPr/>
        <a:lstStyle/>
        <a:p>
          <a:endParaRPr lang="en-GB" sz="3600" dirty="0">
            <a:solidFill>
              <a:schemeClr val="tx1"/>
            </a:solidFill>
          </a:endParaRPr>
        </a:p>
      </dgm:t>
    </dgm:pt>
    <dgm:pt modelId="{E4F0BEE3-346C-BC47-B605-EC631259B39E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ào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ạo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ề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ố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o</a:t>
          </a:r>
          <a:endParaRPr lang="en-GB" sz="36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9BCEA140-75F9-A94E-9FFE-B414AFC8B6FC}" type="parTrans" cxnId="{8FCB74D6-CD3B-FD4F-A6F4-617960D30C6C}">
      <dgm:prSet/>
      <dgm:spPr/>
      <dgm:t>
        <a:bodyPr/>
        <a:lstStyle/>
        <a:p>
          <a:endParaRPr lang="en-GB" sz="3600">
            <a:solidFill>
              <a:schemeClr val="tx1"/>
            </a:solidFill>
          </a:endParaRPr>
        </a:p>
      </dgm:t>
    </dgm:pt>
    <dgm:pt modelId="{9C6EB0A0-142C-FF45-ADCE-D93EBD474BD5}" type="sibTrans" cxnId="{8FCB74D6-CD3B-FD4F-A6F4-617960D30C6C}">
      <dgm:prSet custT="1"/>
      <dgm:spPr/>
      <dgm:t>
        <a:bodyPr/>
        <a:lstStyle/>
        <a:p>
          <a:endParaRPr lang="en-GB" sz="3600" dirty="0">
            <a:solidFill>
              <a:schemeClr val="tx1"/>
            </a:solidFill>
          </a:endParaRPr>
        </a:p>
      </dgm:t>
    </dgm:pt>
    <dgm:pt modelId="{5A09F2CF-D0E4-BE4F-8401-0DA80CD21449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ương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ện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qua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ó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ịch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ụ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BVTE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ể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ản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ứng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h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uyên</a:t>
          </a:r>
          <a:r>
            <a:rPr lang="en-GB" sz="3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hiệp</a:t>
          </a:r>
          <a:endParaRPr lang="en-GB" sz="36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8EEE482A-421C-A346-983E-8643E467E7C3}" type="parTrans" cxnId="{2611896A-1F77-1842-A02F-2C3EBFBF3542}">
      <dgm:prSet/>
      <dgm:spPr/>
      <dgm:t>
        <a:bodyPr/>
        <a:lstStyle/>
        <a:p>
          <a:endParaRPr lang="en-GB" sz="3600">
            <a:solidFill>
              <a:schemeClr val="tx1"/>
            </a:solidFill>
          </a:endParaRPr>
        </a:p>
      </dgm:t>
    </dgm:pt>
    <dgm:pt modelId="{9328ADD5-120F-0E4E-A4E4-95B8941EAEFD}" type="sibTrans" cxnId="{2611896A-1F77-1842-A02F-2C3EBFBF3542}">
      <dgm:prSet/>
      <dgm:spPr/>
      <dgm:t>
        <a:bodyPr/>
        <a:lstStyle/>
        <a:p>
          <a:endParaRPr lang="en-GB" sz="3600">
            <a:solidFill>
              <a:schemeClr val="tx1"/>
            </a:solidFill>
          </a:endParaRPr>
        </a:p>
      </dgm:t>
    </dgm:pt>
    <dgm:pt modelId="{751AFA3E-4B97-6143-AD1C-6203647CF15E}" type="pres">
      <dgm:prSet presAssocID="{F56ECDCF-61B8-3A47-A076-5E3E96FC5BFE}" presName="Name0" presStyleCnt="0">
        <dgm:presLayoutVars>
          <dgm:dir/>
          <dgm:resizeHandles val="exact"/>
        </dgm:presLayoutVars>
      </dgm:prSet>
      <dgm:spPr/>
    </dgm:pt>
    <dgm:pt modelId="{9DED3106-3BBE-A744-AB3D-EDC44B57798F}" type="pres">
      <dgm:prSet presAssocID="{42663633-7C89-DC40-BD9D-231640AC143D}" presName="node" presStyleLbl="node1" presStyleIdx="0" presStyleCnt="3">
        <dgm:presLayoutVars>
          <dgm:bulletEnabled val="1"/>
        </dgm:presLayoutVars>
      </dgm:prSet>
      <dgm:spPr/>
    </dgm:pt>
    <dgm:pt modelId="{D02F728A-04BB-2C47-95DF-D94ADBDE5C10}" type="pres">
      <dgm:prSet presAssocID="{5EE76CA6-9DCB-BF41-8525-40CE412DD88D}" presName="sibTrans" presStyleLbl="sibTrans2D1" presStyleIdx="0" presStyleCnt="2"/>
      <dgm:spPr/>
    </dgm:pt>
    <dgm:pt modelId="{9D036FF3-8B17-834D-889D-F8D75738D16F}" type="pres">
      <dgm:prSet presAssocID="{5EE76CA6-9DCB-BF41-8525-40CE412DD88D}" presName="connectorText" presStyleLbl="sibTrans2D1" presStyleIdx="0" presStyleCnt="2"/>
      <dgm:spPr/>
    </dgm:pt>
    <dgm:pt modelId="{415E425A-357C-F74D-9F05-787D623BC6D2}" type="pres">
      <dgm:prSet presAssocID="{E4F0BEE3-346C-BC47-B605-EC631259B39E}" presName="node" presStyleLbl="node1" presStyleIdx="1" presStyleCnt="3">
        <dgm:presLayoutVars>
          <dgm:bulletEnabled val="1"/>
        </dgm:presLayoutVars>
      </dgm:prSet>
      <dgm:spPr/>
    </dgm:pt>
    <dgm:pt modelId="{F8F91768-28FC-044A-B0F0-656D581BD2B7}" type="pres">
      <dgm:prSet presAssocID="{9C6EB0A0-142C-FF45-ADCE-D93EBD474BD5}" presName="sibTrans" presStyleLbl="sibTrans2D1" presStyleIdx="1" presStyleCnt="2"/>
      <dgm:spPr/>
    </dgm:pt>
    <dgm:pt modelId="{AB4C104A-32AE-364E-8EC4-F1671111C05B}" type="pres">
      <dgm:prSet presAssocID="{9C6EB0A0-142C-FF45-ADCE-D93EBD474BD5}" presName="connectorText" presStyleLbl="sibTrans2D1" presStyleIdx="1" presStyleCnt="2"/>
      <dgm:spPr/>
    </dgm:pt>
    <dgm:pt modelId="{235B84D2-6F2C-ED47-980B-F2AD4E9913E9}" type="pres">
      <dgm:prSet presAssocID="{5A09F2CF-D0E4-BE4F-8401-0DA80CD21449}" presName="node" presStyleLbl="node1" presStyleIdx="2" presStyleCnt="3">
        <dgm:presLayoutVars>
          <dgm:bulletEnabled val="1"/>
        </dgm:presLayoutVars>
      </dgm:prSet>
      <dgm:spPr/>
    </dgm:pt>
  </dgm:ptLst>
  <dgm:cxnLst>
    <dgm:cxn modelId="{22DE3A0C-FD50-F748-AD45-C8ABF9484F3E}" type="presOf" srcId="{5EE76CA6-9DCB-BF41-8525-40CE412DD88D}" destId="{D02F728A-04BB-2C47-95DF-D94ADBDE5C10}" srcOrd="0" destOrd="0" presId="urn:microsoft.com/office/officeart/2005/8/layout/process1"/>
    <dgm:cxn modelId="{CC72E25B-0F86-6246-80AD-ECB0DF2BFEFC}" type="presOf" srcId="{F56ECDCF-61B8-3A47-A076-5E3E96FC5BFE}" destId="{751AFA3E-4B97-6143-AD1C-6203647CF15E}" srcOrd="0" destOrd="0" presId="urn:microsoft.com/office/officeart/2005/8/layout/process1"/>
    <dgm:cxn modelId="{2611896A-1F77-1842-A02F-2C3EBFBF3542}" srcId="{F56ECDCF-61B8-3A47-A076-5E3E96FC5BFE}" destId="{5A09F2CF-D0E4-BE4F-8401-0DA80CD21449}" srcOrd="2" destOrd="0" parTransId="{8EEE482A-421C-A346-983E-8643E467E7C3}" sibTransId="{9328ADD5-120F-0E4E-A4E4-95B8941EAEFD}"/>
    <dgm:cxn modelId="{3E11C774-57E5-C645-9BA5-C6F6359ABCCD}" srcId="{F56ECDCF-61B8-3A47-A076-5E3E96FC5BFE}" destId="{42663633-7C89-DC40-BD9D-231640AC143D}" srcOrd="0" destOrd="0" parTransId="{E6F55792-A608-D84B-B402-3F75FE7BABCF}" sibTransId="{5EE76CA6-9DCB-BF41-8525-40CE412DD88D}"/>
    <dgm:cxn modelId="{45912983-495C-5D4E-A7EA-E9196CD542F9}" type="presOf" srcId="{9C6EB0A0-142C-FF45-ADCE-D93EBD474BD5}" destId="{AB4C104A-32AE-364E-8EC4-F1671111C05B}" srcOrd="1" destOrd="0" presId="urn:microsoft.com/office/officeart/2005/8/layout/process1"/>
    <dgm:cxn modelId="{C94EF691-22D5-F34F-B709-F97F39DC9A8D}" type="presOf" srcId="{9C6EB0A0-142C-FF45-ADCE-D93EBD474BD5}" destId="{F8F91768-28FC-044A-B0F0-656D581BD2B7}" srcOrd="0" destOrd="0" presId="urn:microsoft.com/office/officeart/2005/8/layout/process1"/>
    <dgm:cxn modelId="{BCA017CD-4A19-4941-9E3A-DEA0F975347A}" type="presOf" srcId="{E4F0BEE3-346C-BC47-B605-EC631259B39E}" destId="{415E425A-357C-F74D-9F05-787D623BC6D2}" srcOrd="0" destOrd="0" presId="urn:microsoft.com/office/officeart/2005/8/layout/process1"/>
    <dgm:cxn modelId="{8E4F46D2-4158-CC44-BBF1-1199AB7FC5EF}" type="presOf" srcId="{42663633-7C89-DC40-BD9D-231640AC143D}" destId="{9DED3106-3BBE-A744-AB3D-EDC44B57798F}" srcOrd="0" destOrd="0" presId="urn:microsoft.com/office/officeart/2005/8/layout/process1"/>
    <dgm:cxn modelId="{8FCB74D6-CD3B-FD4F-A6F4-617960D30C6C}" srcId="{F56ECDCF-61B8-3A47-A076-5E3E96FC5BFE}" destId="{E4F0BEE3-346C-BC47-B605-EC631259B39E}" srcOrd="1" destOrd="0" parTransId="{9BCEA140-75F9-A94E-9FFE-B414AFC8B6FC}" sibTransId="{9C6EB0A0-142C-FF45-ADCE-D93EBD474BD5}"/>
    <dgm:cxn modelId="{59AB0EE4-0443-AE40-89B0-21B40D194D71}" type="presOf" srcId="{5A09F2CF-D0E4-BE4F-8401-0DA80CD21449}" destId="{235B84D2-6F2C-ED47-980B-F2AD4E9913E9}" srcOrd="0" destOrd="0" presId="urn:microsoft.com/office/officeart/2005/8/layout/process1"/>
    <dgm:cxn modelId="{84365BEA-1760-3243-905E-07FA7E046C8E}" type="presOf" srcId="{5EE76CA6-9DCB-BF41-8525-40CE412DD88D}" destId="{9D036FF3-8B17-834D-889D-F8D75738D16F}" srcOrd="1" destOrd="0" presId="urn:microsoft.com/office/officeart/2005/8/layout/process1"/>
    <dgm:cxn modelId="{D2FEFD9E-1982-5A4B-B324-FAF69678B6BA}" type="presParOf" srcId="{751AFA3E-4B97-6143-AD1C-6203647CF15E}" destId="{9DED3106-3BBE-A744-AB3D-EDC44B57798F}" srcOrd="0" destOrd="0" presId="urn:microsoft.com/office/officeart/2005/8/layout/process1"/>
    <dgm:cxn modelId="{B4A42F6F-4EE2-EF4A-A591-71312D79B93C}" type="presParOf" srcId="{751AFA3E-4B97-6143-AD1C-6203647CF15E}" destId="{D02F728A-04BB-2C47-95DF-D94ADBDE5C10}" srcOrd="1" destOrd="0" presId="urn:microsoft.com/office/officeart/2005/8/layout/process1"/>
    <dgm:cxn modelId="{0B683AE7-6AB6-E445-88DC-9F3A836EAFBD}" type="presParOf" srcId="{D02F728A-04BB-2C47-95DF-D94ADBDE5C10}" destId="{9D036FF3-8B17-834D-889D-F8D75738D16F}" srcOrd="0" destOrd="0" presId="urn:microsoft.com/office/officeart/2005/8/layout/process1"/>
    <dgm:cxn modelId="{06980DDB-66C3-CA4C-962A-01A1FC362951}" type="presParOf" srcId="{751AFA3E-4B97-6143-AD1C-6203647CF15E}" destId="{415E425A-357C-F74D-9F05-787D623BC6D2}" srcOrd="2" destOrd="0" presId="urn:microsoft.com/office/officeart/2005/8/layout/process1"/>
    <dgm:cxn modelId="{F42D7FBF-4C13-0243-9AB6-C4847C5CBBEF}" type="presParOf" srcId="{751AFA3E-4B97-6143-AD1C-6203647CF15E}" destId="{F8F91768-28FC-044A-B0F0-656D581BD2B7}" srcOrd="3" destOrd="0" presId="urn:microsoft.com/office/officeart/2005/8/layout/process1"/>
    <dgm:cxn modelId="{9753BAF1-703C-7C42-AC9C-AC07B3E4EA21}" type="presParOf" srcId="{F8F91768-28FC-044A-B0F0-656D581BD2B7}" destId="{AB4C104A-32AE-364E-8EC4-F1671111C05B}" srcOrd="0" destOrd="0" presId="urn:microsoft.com/office/officeart/2005/8/layout/process1"/>
    <dgm:cxn modelId="{A44BBFD6-F084-FC48-8D64-239C23138B4A}" type="presParOf" srcId="{751AFA3E-4B97-6143-AD1C-6203647CF15E}" destId="{235B84D2-6F2C-ED47-980B-F2AD4E9913E9}" srcOrd="4" destOrd="0" presId="urn:microsoft.com/office/officeart/2005/8/layout/process1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5.xml><?xml version="1.0" encoding="utf-8"?>
<dgm:dataModel xmlns:dgm="http://schemas.openxmlformats.org/drawingml/2006/diagram" xmlns:a="http://schemas.openxmlformats.org/drawingml/2006/main">
  <dgm:ptLst>
    <dgm:pt modelId="{5F42F83C-69F3-A043-B8BC-445052BCEBCB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C9032E25-2FE0-AD4A-A3A4-2871CCDB15E4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>
              <a:solidFill>
                <a:schemeClr val="tx1"/>
              </a:solidFill>
            </a:rPr>
            <a:t>Ở </a:t>
          </a:r>
          <a:r>
            <a:rPr lang="en-GB" sz="2400" dirty="0" err="1">
              <a:solidFill>
                <a:schemeClr val="tx1"/>
              </a:solidFill>
            </a:rPr>
            <a:t>nhữ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ướ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uyế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íc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ộ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ồ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ườ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ự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à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uyê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hiệp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ô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áo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á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qua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gạ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ề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ảo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ệ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em</a:t>
          </a:r>
          <a:r>
            <a:rPr lang="en-GB" sz="2400" dirty="0">
              <a:solidFill>
                <a:schemeClr val="tx1"/>
              </a:solidFill>
            </a:rPr>
            <a:t> [</a:t>
          </a:r>
          <a:r>
            <a:rPr lang="en-GB" sz="2400" dirty="0" err="1">
              <a:solidFill>
                <a:schemeClr val="tx1"/>
              </a:solidFill>
            </a:rPr>
            <a:t>Tố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áo</a:t>
          </a:r>
          <a:r>
            <a:rPr lang="en-GB" sz="2400" dirty="0">
              <a:solidFill>
                <a:schemeClr val="tx1"/>
              </a:solidFill>
            </a:rPr>
            <a:t>], </a:t>
          </a:r>
          <a:r>
            <a:rPr lang="vi-VN" sz="2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một vấn đề phát sinh được tăng lên khi có các yêu cầu Báo cáo bắt buộc ở một quốc gia</a:t>
          </a:r>
          <a:r>
            <a:rPr lang="en-GB" sz="2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.</a:t>
          </a:r>
        </a:p>
      </dgm:t>
    </dgm:pt>
    <dgm:pt modelId="{B66259D6-D667-9D4B-A2B1-FC22028500FF}" type="parTrans" cxnId="{844C7D4A-A4B9-8240-986F-2830FB53998A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9430A1DB-2512-BF4C-A790-ABC6BA991063}" type="sibTrans" cxnId="{844C7D4A-A4B9-8240-986F-2830FB53998A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8CC63BCD-CBE8-2743-9382-96A67E6D759C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</a:rPr>
            <a:t>Kế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quả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ượ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ă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ườ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ậ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hứ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ề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ố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áo</a:t>
          </a:r>
          <a:r>
            <a:rPr lang="en-GB" sz="2400" dirty="0">
              <a:solidFill>
                <a:schemeClr val="tx1"/>
              </a:solidFill>
            </a:rPr>
            <a:t> XHTE, </a:t>
          </a:r>
          <a:r>
            <a:rPr lang="en-GB" sz="2400" dirty="0" err="1">
              <a:solidFill>
                <a:schemeClr val="tx1"/>
              </a:solidFill>
            </a:rPr>
            <a:t>cô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hú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ó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x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ướ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gửi</a:t>
          </a:r>
          <a:r>
            <a:rPr lang="en-GB" sz="2400" b="1" dirty="0">
              <a:solidFill>
                <a:schemeClr val="tx1"/>
              </a:solidFill>
            </a:rPr>
            <a:t> </a:t>
          </a:r>
          <a:r>
            <a:rPr lang="en-GB" sz="2400" b="0" dirty="0" err="1">
              <a:solidFill>
                <a:schemeClr val="tx1"/>
              </a:solidFill>
            </a:rPr>
            <a:t>Tố</a:t>
          </a:r>
          <a:r>
            <a:rPr lang="en-GB" sz="2400" b="0" dirty="0">
              <a:solidFill>
                <a:schemeClr val="tx1"/>
              </a:solidFill>
            </a:rPr>
            <a:t> </a:t>
          </a:r>
          <a:r>
            <a:rPr lang="en-GB" sz="2400" b="0" dirty="0" err="1">
              <a:solidFill>
                <a:schemeClr val="tx1"/>
              </a:solidFill>
            </a:rPr>
            <a:t>cáo</a:t>
          </a:r>
          <a:r>
            <a:rPr lang="en-GB" sz="2400" b="0" dirty="0">
              <a:solidFill>
                <a:schemeClr val="tx1"/>
              </a:solidFill>
            </a:rPr>
            <a:t> </a:t>
          </a:r>
          <a:r>
            <a:rPr lang="en-GB" sz="2400" b="0" dirty="0" err="1">
              <a:solidFill>
                <a:schemeClr val="tx1"/>
              </a:solidFill>
            </a:rPr>
            <a:t>nhiều</a:t>
          </a:r>
          <a:r>
            <a:rPr lang="en-GB" sz="2400" b="0" dirty="0">
              <a:solidFill>
                <a:schemeClr val="tx1"/>
              </a:solidFill>
            </a:rPr>
            <a:t> </a:t>
          </a:r>
          <a:r>
            <a:rPr lang="en-GB" sz="2400" b="0" dirty="0" err="1">
              <a:solidFill>
                <a:schemeClr val="tx1"/>
              </a:solidFill>
            </a:rPr>
            <a:t>hơn</a:t>
          </a:r>
          <a:r>
            <a:rPr lang="en-GB" sz="2400" b="0" dirty="0">
              <a:solidFill>
                <a:schemeClr val="tx1"/>
              </a:solidFill>
            </a:rPr>
            <a:t> </a:t>
          </a:r>
          <a:r>
            <a:rPr lang="en-GB" sz="2400" b="0" dirty="0" err="1">
              <a:solidFill>
                <a:schemeClr val="tx1"/>
              </a:solidFill>
            </a:rPr>
            <a:t>làm</a:t>
          </a:r>
          <a:r>
            <a:rPr lang="en-GB" sz="2400" b="0" dirty="0">
              <a:solidFill>
                <a:schemeClr val="tx1"/>
              </a:solidFill>
            </a:rPr>
            <a:t> </a:t>
          </a:r>
          <a:r>
            <a:rPr lang="en-GB" sz="2400" b="0" dirty="0" err="1">
              <a:solidFill>
                <a:schemeClr val="tx1"/>
              </a:solidFill>
            </a:rPr>
            <a:t>gia</a:t>
          </a:r>
          <a:r>
            <a:rPr lang="en-GB" sz="2400" b="0" dirty="0">
              <a:solidFill>
                <a:schemeClr val="tx1"/>
              </a:solidFill>
            </a:rPr>
            <a:t> </a:t>
          </a:r>
          <a:r>
            <a:rPr lang="en-GB" sz="2400" b="0" dirty="0" err="1">
              <a:solidFill>
                <a:schemeClr val="tx1"/>
              </a:solidFill>
            </a:rPr>
            <a:t>tă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b="1" dirty="0" err="1">
              <a:solidFill>
                <a:schemeClr val="tx1"/>
              </a:solidFill>
            </a:rPr>
            <a:t>khối</a:t>
          </a:r>
          <a:r>
            <a:rPr lang="en-GB" sz="2400" b="1" dirty="0">
              <a:solidFill>
                <a:schemeClr val="tx1"/>
              </a:solidFill>
            </a:rPr>
            <a:t> </a:t>
          </a:r>
          <a:r>
            <a:rPr lang="en-GB" sz="2400" b="1" dirty="0" err="1">
              <a:solidFill>
                <a:schemeClr val="tx1"/>
              </a:solidFill>
            </a:rPr>
            <a:t>lượng</a:t>
          </a:r>
          <a:r>
            <a:rPr lang="en-GB" sz="2400" b="1" dirty="0">
              <a:solidFill>
                <a:schemeClr val="tx1"/>
              </a:solidFill>
            </a:rPr>
            <a:t> </a:t>
          </a:r>
          <a:r>
            <a:rPr lang="en-GB" sz="2400" b="1" dirty="0" err="1">
              <a:solidFill>
                <a:schemeClr val="tx1"/>
              </a:solidFill>
            </a:rPr>
            <a:t>công</a:t>
          </a:r>
          <a:r>
            <a:rPr lang="en-GB" sz="2400" b="1" dirty="0">
              <a:solidFill>
                <a:schemeClr val="tx1"/>
              </a:solidFill>
            </a:rPr>
            <a:t> </a:t>
          </a:r>
          <a:r>
            <a:rPr lang="en-GB" sz="2400" b="1" dirty="0" err="1">
              <a:solidFill>
                <a:schemeClr val="tx1"/>
              </a:solidFill>
            </a:rPr>
            <a:t>việ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ủ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á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bộ</a:t>
          </a:r>
          <a:r>
            <a:rPr lang="en-GB" sz="2400" dirty="0">
              <a:solidFill>
                <a:schemeClr val="tx1"/>
              </a:solidFill>
            </a:rPr>
            <a:t> BVTE </a:t>
          </a:r>
          <a:r>
            <a:rPr lang="en-GB" sz="2400" dirty="0" err="1">
              <a:solidFill>
                <a:schemeClr val="tx1"/>
              </a:solidFill>
            </a:rPr>
            <a:t>để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á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giá</a:t>
          </a:r>
          <a:r>
            <a:rPr lang="en-GB" sz="2400" dirty="0">
              <a:solidFill>
                <a:schemeClr val="tx1"/>
              </a:solidFill>
            </a:rPr>
            <a:t> tin </a:t>
          </a:r>
          <a:r>
            <a:rPr lang="en-GB" sz="2400" dirty="0" err="1">
              <a:solidFill>
                <a:schemeClr val="tx1"/>
              </a:solidFill>
            </a:rPr>
            <a:t>báo</a:t>
          </a:r>
          <a:r>
            <a:rPr lang="en-GB" sz="2400" dirty="0">
              <a:solidFill>
                <a:schemeClr val="tx1"/>
              </a:solidFill>
            </a:rPr>
            <a:t>.  </a:t>
          </a:r>
        </a:p>
        <a:p>
          <a:r>
            <a:rPr lang="en-GB" sz="2400" dirty="0" err="1">
              <a:solidFill>
                <a:schemeClr val="tx1"/>
              </a:solidFill>
            </a:rPr>
            <a:t>Khoảng</a:t>
          </a:r>
          <a:r>
            <a:rPr lang="en-GB" sz="2400" dirty="0">
              <a:solidFill>
                <a:schemeClr val="tx1"/>
              </a:solidFill>
            </a:rPr>
            <a:t> 2/3 tin </a:t>
          </a:r>
          <a:r>
            <a:rPr lang="en-GB" sz="2400" dirty="0" err="1">
              <a:solidFill>
                <a:schemeClr val="tx1"/>
              </a:solidFill>
            </a:rPr>
            <a:t>tố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áo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sau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ù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ượ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ết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uậ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ô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phả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l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xâ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hạ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em</a:t>
          </a:r>
          <a:r>
            <a:rPr lang="en-GB" sz="2400" dirty="0">
              <a:solidFill>
                <a:schemeClr val="tx1"/>
              </a:solidFill>
            </a:rPr>
            <a:t> – </a:t>
          </a:r>
          <a:r>
            <a:rPr lang="en-GB" sz="2400" dirty="0" err="1">
              <a:solidFill>
                <a:schemeClr val="tx1"/>
              </a:solidFill>
            </a:rPr>
            <a:t>mặ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dù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ũ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có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nhữ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ấn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ề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khác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trẻ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em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và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gia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ình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ang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phả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đối</a:t>
          </a:r>
          <a:r>
            <a:rPr lang="en-GB" sz="2400" dirty="0">
              <a:solidFill>
                <a:schemeClr val="tx1"/>
              </a:solidFill>
            </a:rPr>
            <a:t> </a:t>
          </a:r>
          <a:r>
            <a:rPr lang="en-GB" sz="2400" dirty="0" err="1">
              <a:solidFill>
                <a:schemeClr val="tx1"/>
              </a:solidFill>
            </a:rPr>
            <a:t>mặt</a:t>
          </a:r>
          <a:r>
            <a:rPr lang="en-GB" sz="2400" dirty="0">
              <a:solidFill>
                <a:schemeClr val="tx1"/>
              </a:solidFill>
            </a:rPr>
            <a:t>.</a:t>
          </a:r>
        </a:p>
      </dgm:t>
    </dgm:pt>
    <dgm:pt modelId="{2A0FE12C-3A12-9C46-BBF4-2A5BB45F78BD}" type="parTrans" cxnId="{60387CC4-B200-CC45-9218-E3A861BC1533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086BC2EC-3306-4B42-8E82-DE8500B401D3}" type="sibTrans" cxnId="{60387CC4-B200-CC45-9218-E3A861BC1533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25658C1D-9CAA-9E4E-B038-590DC0A90CE2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800" dirty="0" err="1">
              <a:solidFill>
                <a:schemeClr val="tx1"/>
              </a:solidFill>
            </a:rPr>
            <a:t>Kh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khuyến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khích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ộ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đồ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và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gườ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hực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hành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huyên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ghiệp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hô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báo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ác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quan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gạ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về</a:t>
          </a:r>
          <a:r>
            <a:rPr lang="en-GB" sz="2800" dirty="0">
              <a:solidFill>
                <a:schemeClr val="tx1"/>
              </a:solidFill>
            </a:rPr>
            <a:t> an </a:t>
          </a:r>
          <a:r>
            <a:rPr lang="en-GB" sz="2800" dirty="0" err="1">
              <a:solidFill>
                <a:schemeClr val="tx1"/>
              </a:solidFill>
            </a:rPr>
            <a:t>toàn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ủa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một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đứa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rẻ</a:t>
          </a:r>
          <a:r>
            <a:rPr lang="en-GB" sz="2800" dirty="0">
              <a:solidFill>
                <a:schemeClr val="tx1"/>
              </a:solidFill>
            </a:rPr>
            <a:t>, </a:t>
          </a:r>
          <a:r>
            <a:rPr lang="en-GB" sz="2800" dirty="0" err="1">
              <a:solidFill>
                <a:schemeClr val="tx1"/>
              </a:solidFill>
            </a:rPr>
            <a:t>điều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quan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rọ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là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hướ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dẫn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ho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ộ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đồ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và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gười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hực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hành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huyên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ghiệp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biết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hế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nào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là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một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trường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hợp</a:t>
          </a:r>
          <a:r>
            <a:rPr lang="en-GB" sz="2800" dirty="0">
              <a:solidFill>
                <a:schemeClr val="tx1"/>
              </a:solidFill>
            </a:rPr>
            <a:t> XHTE </a:t>
          </a:r>
          <a:r>
            <a:rPr lang="en-GB" sz="2800" dirty="0" err="1">
              <a:solidFill>
                <a:schemeClr val="tx1"/>
              </a:solidFill>
            </a:rPr>
            <a:t>và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cách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đánh</a:t>
          </a:r>
          <a:r>
            <a:rPr lang="en-GB" sz="2800" dirty="0">
              <a:solidFill>
                <a:schemeClr val="tx1"/>
              </a:solidFill>
            </a:rPr>
            <a:t> </a:t>
          </a:r>
          <a:r>
            <a:rPr lang="en-GB" sz="2800" dirty="0" err="1">
              <a:solidFill>
                <a:schemeClr val="tx1"/>
              </a:solidFill>
            </a:rPr>
            <a:t>giá</a:t>
          </a:r>
          <a:r>
            <a:rPr lang="en-GB" sz="2800" dirty="0">
              <a:solidFill>
                <a:schemeClr val="tx1"/>
              </a:solidFill>
            </a:rPr>
            <a:t>. </a:t>
          </a:r>
        </a:p>
      </dgm:t>
    </dgm:pt>
    <dgm:pt modelId="{B3DCF285-4B6D-6049-8183-3F7A05DA46A3}" type="parTrans" cxnId="{A82D909D-9364-3143-B960-039182C03DEC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CF36AEB1-93E7-DD48-A30C-4600DA8DDBB0}" type="sibTrans" cxnId="{A82D909D-9364-3143-B960-039182C03DEC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B003BC57-6F72-8A4C-A0C2-63DD1C4F463E}" type="pres">
      <dgm:prSet presAssocID="{5F42F83C-69F3-A043-B8BC-445052BCEBCB}" presName="CompostProcess" presStyleCnt="0">
        <dgm:presLayoutVars>
          <dgm:dir/>
          <dgm:resizeHandles val="exact"/>
        </dgm:presLayoutVars>
      </dgm:prSet>
      <dgm:spPr/>
    </dgm:pt>
    <dgm:pt modelId="{3216638F-4115-3E41-A397-A893AF9AAD64}" type="pres">
      <dgm:prSet presAssocID="{5F42F83C-69F3-A043-B8BC-445052BCEBCB}" presName="arrow" presStyleLbl="bgShp" presStyleIdx="0" presStyleCnt="1"/>
      <dgm:spPr/>
    </dgm:pt>
    <dgm:pt modelId="{4EB71505-EC22-5847-823C-022EA40E1660}" type="pres">
      <dgm:prSet presAssocID="{5F42F83C-69F3-A043-B8BC-445052BCEBCB}" presName="linearProcess" presStyleCnt="0"/>
      <dgm:spPr/>
    </dgm:pt>
    <dgm:pt modelId="{0EF9EAD4-6011-CD4B-BF57-578FD32A3C5F}" type="pres">
      <dgm:prSet presAssocID="{C9032E25-2FE0-AD4A-A3A4-2871CCDB15E4}" presName="textNode" presStyleLbl="node1" presStyleIdx="0" presStyleCnt="3" custScaleY="203943" custLinFactNeighborX="-520" custLinFactNeighborY="-806">
        <dgm:presLayoutVars>
          <dgm:bulletEnabled val="1"/>
        </dgm:presLayoutVars>
      </dgm:prSet>
      <dgm:spPr/>
    </dgm:pt>
    <dgm:pt modelId="{58DD8826-8329-E240-BA6C-F75CD337FD41}" type="pres">
      <dgm:prSet presAssocID="{9430A1DB-2512-BF4C-A790-ABC6BA991063}" presName="sibTrans" presStyleCnt="0"/>
      <dgm:spPr/>
    </dgm:pt>
    <dgm:pt modelId="{7F9CDAB9-794A-1C48-AB88-9E6EDFC49716}" type="pres">
      <dgm:prSet presAssocID="{8CC63BCD-CBE8-2743-9382-96A67E6D759C}" presName="textNode" presStyleLbl="node1" presStyleIdx="1" presStyleCnt="3" custScaleX="119588" custScaleY="228096" custLinFactNeighborX="13599" custLinFactNeighborY="8855">
        <dgm:presLayoutVars>
          <dgm:bulletEnabled val="1"/>
        </dgm:presLayoutVars>
      </dgm:prSet>
      <dgm:spPr/>
    </dgm:pt>
    <dgm:pt modelId="{565D6A86-7DEC-0840-B779-8AF3E16DF7D1}" type="pres">
      <dgm:prSet presAssocID="{086BC2EC-3306-4B42-8E82-DE8500B401D3}" presName="sibTrans" presStyleCnt="0"/>
      <dgm:spPr/>
    </dgm:pt>
    <dgm:pt modelId="{9CB744BC-7F0B-BF43-8732-C7240CC46158}" type="pres">
      <dgm:prSet presAssocID="{25658C1D-9CAA-9E4E-B038-590DC0A90CE2}" presName="textNode" presStyleLbl="node1" presStyleIdx="2" presStyleCnt="3" custScaleY="250000" custLinFactNeighborX="11912" custLinFactNeighborY="-26488">
        <dgm:presLayoutVars>
          <dgm:bulletEnabled val="1"/>
        </dgm:presLayoutVars>
      </dgm:prSet>
      <dgm:spPr/>
    </dgm:pt>
  </dgm:ptLst>
  <dgm:cxnLst>
    <dgm:cxn modelId="{CEAAE55B-8BBC-1147-B4EE-F0203253A51D}" type="presOf" srcId="{25658C1D-9CAA-9E4E-B038-590DC0A90CE2}" destId="{9CB744BC-7F0B-BF43-8732-C7240CC46158}" srcOrd="0" destOrd="0" presId="urn:microsoft.com/office/officeart/2005/8/layout/hProcess9"/>
    <dgm:cxn modelId="{844C7D4A-A4B9-8240-986F-2830FB53998A}" srcId="{5F42F83C-69F3-A043-B8BC-445052BCEBCB}" destId="{C9032E25-2FE0-AD4A-A3A4-2871CCDB15E4}" srcOrd="0" destOrd="0" parTransId="{B66259D6-D667-9D4B-A2B1-FC22028500FF}" sibTransId="{9430A1DB-2512-BF4C-A790-ABC6BA991063}"/>
    <dgm:cxn modelId="{2F8FA282-556D-6242-B828-96F476EA3D32}" type="presOf" srcId="{C9032E25-2FE0-AD4A-A3A4-2871CCDB15E4}" destId="{0EF9EAD4-6011-CD4B-BF57-578FD32A3C5F}" srcOrd="0" destOrd="0" presId="urn:microsoft.com/office/officeart/2005/8/layout/hProcess9"/>
    <dgm:cxn modelId="{A82D909D-9364-3143-B960-039182C03DEC}" srcId="{5F42F83C-69F3-A043-B8BC-445052BCEBCB}" destId="{25658C1D-9CAA-9E4E-B038-590DC0A90CE2}" srcOrd="2" destOrd="0" parTransId="{B3DCF285-4B6D-6049-8183-3F7A05DA46A3}" sibTransId="{CF36AEB1-93E7-DD48-A30C-4600DA8DDBB0}"/>
    <dgm:cxn modelId="{60387CC4-B200-CC45-9218-E3A861BC1533}" srcId="{5F42F83C-69F3-A043-B8BC-445052BCEBCB}" destId="{8CC63BCD-CBE8-2743-9382-96A67E6D759C}" srcOrd="1" destOrd="0" parTransId="{2A0FE12C-3A12-9C46-BBF4-2A5BB45F78BD}" sibTransId="{086BC2EC-3306-4B42-8E82-DE8500B401D3}"/>
    <dgm:cxn modelId="{C8D12EC8-3748-7C47-82EB-7A65BDF27B75}" type="presOf" srcId="{5F42F83C-69F3-A043-B8BC-445052BCEBCB}" destId="{B003BC57-6F72-8A4C-A0C2-63DD1C4F463E}" srcOrd="0" destOrd="0" presId="urn:microsoft.com/office/officeart/2005/8/layout/hProcess9"/>
    <dgm:cxn modelId="{EEF4FCD3-69FD-F149-B19A-689B0E81691A}" type="presOf" srcId="{8CC63BCD-CBE8-2743-9382-96A67E6D759C}" destId="{7F9CDAB9-794A-1C48-AB88-9E6EDFC49716}" srcOrd="0" destOrd="0" presId="urn:microsoft.com/office/officeart/2005/8/layout/hProcess9"/>
    <dgm:cxn modelId="{996A3AC3-59E7-0D4F-B73A-9624AA1AFBA3}" type="presParOf" srcId="{B003BC57-6F72-8A4C-A0C2-63DD1C4F463E}" destId="{3216638F-4115-3E41-A397-A893AF9AAD64}" srcOrd="0" destOrd="0" presId="urn:microsoft.com/office/officeart/2005/8/layout/hProcess9"/>
    <dgm:cxn modelId="{5520F296-A6E1-254F-8B96-196AB49635D8}" type="presParOf" srcId="{B003BC57-6F72-8A4C-A0C2-63DD1C4F463E}" destId="{4EB71505-EC22-5847-823C-022EA40E1660}" srcOrd="1" destOrd="0" presId="urn:microsoft.com/office/officeart/2005/8/layout/hProcess9"/>
    <dgm:cxn modelId="{0F52ED94-BE90-5647-80F6-07AC728C7CD7}" type="presParOf" srcId="{4EB71505-EC22-5847-823C-022EA40E1660}" destId="{0EF9EAD4-6011-CD4B-BF57-578FD32A3C5F}" srcOrd="0" destOrd="0" presId="urn:microsoft.com/office/officeart/2005/8/layout/hProcess9"/>
    <dgm:cxn modelId="{0E1ACF59-0333-664A-A52B-A844ACF2E2F8}" type="presParOf" srcId="{4EB71505-EC22-5847-823C-022EA40E1660}" destId="{58DD8826-8329-E240-BA6C-F75CD337FD41}" srcOrd="1" destOrd="0" presId="urn:microsoft.com/office/officeart/2005/8/layout/hProcess9"/>
    <dgm:cxn modelId="{A33A1A9C-6F64-B34C-B431-7B9864C85A12}" type="presParOf" srcId="{4EB71505-EC22-5847-823C-022EA40E1660}" destId="{7F9CDAB9-794A-1C48-AB88-9E6EDFC49716}" srcOrd="2" destOrd="0" presId="urn:microsoft.com/office/officeart/2005/8/layout/hProcess9"/>
    <dgm:cxn modelId="{8B2F72BF-3FC9-4248-9203-50D22884E8E0}" type="presParOf" srcId="{4EB71505-EC22-5847-823C-022EA40E1660}" destId="{565D6A86-7DEC-0840-B779-8AF3E16DF7D1}" srcOrd="3" destOrd="0" presId="urn:microsoft.com/office/officeart/2005/8/layout/hProcess9"/>
    <dgm:cxn modelId="{EB3D1F8E-93BF-8F4E-A85A-2DFAFA06C46E}" type="presParOf" srcId="{4EB71505-EC22-5847-823C-022EA40E1660}" destId="{9CB744BC-7F0B-BF43-8732-C7240CC46158}" srcOrd="4" destOrd="0" presId="urn:microsoft.com/office/officeart/2005/8/layout/hProcess9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6.xml><?xml version="1.0" encoding="utf-8"?>
<dgm:dataModel xmlns:dgm="http://schemas.openxmlformats.org/drawingml/2006/diagram" xmlns:a="http://schemas.openxmlformats.org/drawingml/2006/main">
  <dgm:ptLst>
    <dgm:pt modelId="{08337B3A-B5E8-9D4C-AF14-2EC165E86615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D08E84F5-6065-0E42-882F-250D3066F66F}">
      <dgm:prSet phldrT="[Text]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</a:rPr>
            <a:t>Định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chuẩn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hông</a:t>
          </a:r>
          <a:r>
            <a:rPr lang="en-GB" dirty="0">
              <a:solidFill>
                <a:schemeClr val="tx1"/>
              </a:solidFill>
            </a:rPr>
            <a:t> qua </a:t>
          </a:r>
          <a:r>
            <a:rPr lang="en-GB" dirty="0" err="1">
              <a:solidFill>
                <a:schemeClr val="tx1"/>
              </a:solidFill>
            </a:rPr>
            <a:t>những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quan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ngại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ề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nhu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cầu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chăm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só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của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ẻ</a:t>
          </a:r>
          <a:endParaRPr lang="en-GB" dirty="0">
            <a:solidFill>
              <a:schemeClr val="tx1"/>
            </a:solidFill>
          </a:endParaRPr>
        </a:p>
        <a:p>
          <a:r>
            <a:rPr lang="en-GB" dirty="0" err="1">
              <a:solidFill>
                <a:schemeClr val="tx1"/>
              </a:solidFill>
            </a:rPr>
            <a:t>Thự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hiện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rước</a:t>
          </a:r>
          <a:endParaRPr lang="en-GB" dirty="0">
            <a:solidFill>
              <a:schemeClr val="tx1"/>
            </a:solidFill>
          </a:endParaRPr>
        </a:p>
      </dgm:t>
    </dgm:pt>
    <dgm:pt modelId="{CF6DEBF3-CCCB-1F4C-9B3D-6BACAD6A6287}" type="parTrans" cxnId="{6DF56C74-B301-104F-BB39-CCC41FA4C8BA}">
      <dgm:prSet/>
      <dgm:spPr/>
      <dgm:t>
        <a:bodyPr/>
        <a:lstStyle/>
        <a:p>
          <a:endParaRPr lang="en-GB"/>
        </a:p>
      </dgm:t>
    </dgm:pt>
    <dgm:pt modelId="{25E6824D-141B-294B-B97F-26239AA29143}" type="sibTrans" cxnId="{6DF56C74-B301-104F-BB39-CCC41FA4C8BA}">
      <dgm:prSet/>
      <dgm:spPr/>
      <dgm:t>
        <a:bodyPr/>
        <a:lstStyle/>
        <a:p>
          <a:endParaRPr lang="en-GB"/>
        </a:p>
      </dgm:t>
    </dgm:pt>
    <dgm:pt modelId="{1B90B0A0-962F-6742-AEE0-10F0D66D9C02}">
      <dgm:prSet phldrT="[Text]"/>
      <dgm:spPr/>
      <dgm:t>
        <a:bodyPr/>
        <a:lstStyle/>
        <a:p>
          <a:r>
            <a:rPr lang="en-GB" dirty="0" err="1"/>
            <a:t>Có</a:t>
          </a:r>
          <a:r>
            <a:rPr lang="en-GB" dirty="0"/>
            <a:t> </a:t>
          </a:r>
          <a:r>
            <a:rPr lang="en-GB" dirty="0" err="1"/>
            <a:t>nghi</a:t>
          </a:r>
          <a:r>
            <a:rPr lang="en-GB" dirty="0"/>
            <a:t> </a:t>
          </a:r>
          <a:r>
            <a:rPr lang="en-GB" dirty="0" err="1"/>
            <a:t>ngại</a:t>
          </a:r>
          <a:r>
            <a:rPr lang="en-GB" dirty="0"/>
            <a:t> </a:t>
          </a:r>
          <a:r>
            <a:rPr lang="en-GB" dirty="0" err="1"/>
            <a:t>liên</a:t>
          </a:r>
          <a:r>
            <a:rPr lang="en-GB" dirty="0"/>
            <a:t> </a:t>
          </a:r>
          <a:r>
            <a:rPr lang="en-GB" dirty="0" err="1"/>
            <a:t>quan</a:t>
          </a:r>
          <a:r>
            <a:rPr lang="en-GB" dirty="0"/>
            <a:t> </a:t>
          </a:r>
          <a:r>
            <a:rPr lang="en-GB" dirty="0" err="1"/>
            <a:t>tới</a:t>
          </a:r>
          <a:r>
            <a:rPr lang="en-GB" dirty="0"/>
            <a:t> </a:t>
          </a:r>
          <a:r>
            <a:rPr lang="en-GB" dirty="0" err="1"/>
            <a:t>việc</a:t>
          </a:r>
          <a:r>
            <a:rPr lang="en-GB" dirty="0"/>
            <a:t> </a:t>
          </a:r>
          <a:r>
            <a:rPr lang="en-GB" dirty="0" err="1"/>
            <a:t>nhu</a:t>
          </a:r>
          <a:r>
            <a:rPr lang="en-GB" dirty="0"/>
            <a:t> </a:t>
          </a:r>
          <a:r>
            <a:rPr lang="en-GB" dirty="0" err="1"/>
            <a:t>cầu</a:t>
          </a:r>
          <a:r>
            <a:rPr lang="en-GB" dirty="0"/>
            <a:t> </a:t>
          </a:r>
          <a:r>
            <a:rPr lang="en-GB" dirty="0" err="1"/>
            <a:t>chăm</a:t>
          </a:r>
          <a:r>
            <a:rPr lang="en-GB" dirty="0"/>
            <a:t> </a:t>
          </a:r>
          <a:r>
            <a:rPr lang="en-GB" dirty="0" err="1"/>
            <a:t>sóc</a:t>
          </a:r>
          <a:r>
            <a:rPr lang="en-GB" dirty="0"/>
            <a:t> </a:t>
          </a:r>
          <a:r>
            <a:rPr lang="en-GB" dirty="0" err="1"/>
            <a:t>của</a:t>
          </a:r>
          <a:r>
            <a:rPr lang="en-GB" dirty="0"/>
            <a:t> </a:t>
          </a:r>
          <a:r>
            <a:rPr lang="en-GB" dirty="0" err="1"/>
            <a:t>trẻ</a:t>
          </a:r>
          <a:r>
            <a:rPr lang="en-GB" dirty="0"/>
            <a:t> </a:t>
          </a:r>
          <a:r>
            <a:rPr lang="en-GB" dirty="0" err="1"/>
            <a:t>được</a:t>
          </a:r>
          <a:r>
            <a:rPr lang="en-GB" dirty="0"/>
            <a:t> </a:t>
          </a:r>
          <a:r>
            <a:rPr lang="en-GB" dirty="0" err="1"/>
            <a:t>đáp</a:t>
          </a:r>
          <a:r>
            <a:rPr lang="en-GB" dirty="0"/>
            <a:t> </a:t>
          </a:r>
          <a:r>
            <a:rPr lang="en-GB" dirty="0" err="1"/>
            <a:t>ứng</a:t>
          </a:r>
          <a:r>
            <a:rPr lang="en-GB" dirty="0"/>
            <a:t> </a:t>
          </a:r>
          <a:r>
            <a:rPr lang="en-GB" dirty="0" err="1"/>
            <a:t>phù</a:t>
          </a:r>
          <a:r>
            <a:rPr lang="en-GB" dirty="0"/>
            <a:t> </a:t>
          </a:r>
          <a:r>
            <a:rPr lang="en-GB" dirty="0" err="1"/>
            <a:t>hợp</a:t>
          </a:r>
          <a:r>
            <a:rPr lang="en-GB" dirty="0"/>
            <a:t> </a:t>
          </a:r>
          <a:r>
            <a:rPr lang="en-GB" dirty="0" err="1"/>
            <a:t>không</a:t>
          </a:r>
          <a:r>
            <a:rPr lang="en-GB" dirty="0"/>
            <a:t>?</a:t>
          </a:r>
        </a:p>
      </dgm:t>
    </dgm:pt>
    <dgm:pt modelId="{B0F982F5-5CFB-A542-9953-A0955A752D1D}" type="parTrans" cxnId="{9BD2ADE2-AA04-294A-9781-C2196386533C}">
      <dgm:prSet/>
      <dgm:spPr/>
      <dgm:t>
        <a:bodyPr/>
        <a:lstStyle/>
        <a:p>
          <a:endParaRPr lang="en-GB"/>
        </a:p>
      </dgm:t>
    </dgm:pt>
    <dgm:pt modelId="{F445E224-7A55-9A4D-A733-570FB30AA2DA}" type="sibTrans" cxnId="{9BD2ADE2-AA04-294A-9781-C2196386533C}">
      <dgm:prSet/>
      <dgm:spPr/>
      <dgm:t>
        <a:bodyPr/>
        <a:lstStyle/>
        <a:p>
          <a:endParaRPr lang="en-GB"/>
        </a:p>
      </dgm:t>
    </dgm:pt>
    <dgm:pt modelId="{11327B00-A43E-264D-B04B-D18CADA7E53E}">
      <dgm:prSet phldrT="[Text]"/>
      <dgm:spPr/>
      <dgm:t>
        <a:bodyPr/>
        <a:lstStyle/>
        <a:p>
          <a:r>
            <a:rPr lang="en-GB" dirty="0" err="1"/>
            <a:t>Sử</a:t>
          </a:r>
          <a:r>
            <a:rPr lang="en-GB" dirty="0"/>
            <a:t> </a:t>
          </a:r>
          <a:r>
            <a:rPr lang="en-GB" dirty="0" err="1"/>
            <a:t>dụng</a:t>
          </a:r>
          <a:r>
            <a:rPr lang="en-GB" dirty="0"/>
            <a:t> </a:t>
          </a:r>
          <a:r>
            <a:rPr lang="en-GB" dirty="0" err="1"/>
            <a:t>những</a:t>
          </a:r>
          <a:r>
            <a:rPr lang="en-GB" dirty="0"/>
            <a:t> </a:t>
          </a:r>
          <a:r>
            <a:rPr lang="en-GB" dirty="0" err="1"/>
            <a:t>chỉ</a:t>
          </a:r>
          <a:r>
            <a:rPr lang="en-GB" dirty="0"/>
            <a:t> </a:t>
          </a:r>
          <a:r>
            <a:rPr lang="en-GB" dirty="0" err="1"/>
            <a:t>báo</a:t>
          </a:r>
          <a:r>
            <a:rPr lang="en-GB" dirty="0"/>
            <a:t> </a:t>
          </a:r>
          <a:r>
            <a:rPr lang="en-GB" dirty="0" err="1"/>
            <a:t>về</a:t>
          </a:r>
          <a:r>
            <a:rPr lang="en-GB" dirty="0"/>
            <a:t> </a:t>
          </a:r>
          <a:r>
            <a:rPr lang="en-GB" dirty="0" err="1"/>
            <a:t>nhu</a:t>
          </a:r>
          <a:r>
            <a:rPr lang="en-GB" dirty="0"/>
            <a:t> </a:t>
          </a:r>
          <a:r>
            <a:rPr lang="en-GB" dirty="0" err="1"/>
            <a:t>cầu</a:t>
          </a:r>
          <a:r>
            <a:rPr lang="en-GB" dirty="0"/>
            <a:t> </a:t>
          </a:r>
          <a:r>
            <a:rPr lang="en-GB" dirty="0" err="1"/>
            <a:t>chăm</a:t>
          </a:r>
          <a:r>
            <a:rPr lang="en-GB" dirty="0"/>
            <a:t> </a:t>
          </a:r>
          <a:r>
            <a:rPr lang="en-GB" dirty="0" err="1"/>
            <a:t>sóc</a:t>
          </a:r>
          <a:r>
            <a:rPr lang="en-GB" dirty="0"/>
            <a:t> </a:t>
          </a:r>
          <a:r>
            <a:rPr lang="en-GB" dirty="0" err="1"/>
            <a:t>trẻ</a:t>
          </a:r>
          <a:r>
            <a:rPr lang="en-GB" dirty="0"/>
            <a:t> </a:t>
          </a:r>
          <a:r>
            <a:rPr lang="en-GB" dirty="0" err="1"/>
            <a:t>em</a:t>
          </a:r>
          <a:endParaRPr lang="en-GB" dirty="0"/>
        </a:p>
      </dgm:t>
    </dgm:pt>
    <dgm:pt modelId="{7C8E035B-263D-474A-8EAD-685D28B76782}" type="parTrans" cxnId="{A1FD07DA-3FBA-A242-A76C-11C59CA9D3EF}">
      <dgm:prSet/>
      <dgm:spPr/>
      <dgm:t>
        <a:bodyPr/>
        <a:lstStyle/>
        <a:p>
          <a:endParaRPr lang="en-GB"/>
        </a:p>
      </dgm:t>
    </dgm:pt>
    <dgm:pt modelId="{F6ADD33D-9ED6-3C41-BC05-C73AC7EA66A8}" type="sibTrans" cxnId="{A1FD07DA-3FBA-A242-A76C-11C59CA9D3EF}">
      <dgm:prSet/>
      <dgm:spPr/>
      <dgm:t>
        <a:bodyPr/>
        <a:lstStyle/>
        <a:p>
          <a:endParaRPr lang="en-GB"/>
        </a:p>
      </dgm:t>
    </dgm:pt>
    <dgm:pt modelId="{A9EF1B4E-3448-B942-B308-7387D0AC848B}">
      <dgm:prSet phldrT="[Text]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</a:rPr>
            <a:t>Định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chuẩn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thông</a:t>
          </a:r>
          <a:r>
            <a:rPr lang="en-GB" dirty="0">
              <a:solidFill>
                <a:schemeClr val="tx1"/>
              </a:solidFill>
            </a:rPr>
            <a:t> qua </a:t>
          </a:r>
          <a:r>
            <a:rPr lang="en-GB" dirty="0" err="1">
              <a:solidFill>
                <a:schemeClr val="tx1"/>
              </a:solidFill>
            </a:rPr>
            <a:t>những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quan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ngại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về</a:t>
          </a:r>
          <a:r>
            <a:rPr lang="en-GB" dirty="0">
              <a:solidFill>
                <a:schemeClr val="tx1"/>
              </a:solidFill>
            </a:rPr>
            <a:t> XHTE.</a:t>
          </a:r>
        </a:p>
        <a:p>
          <a:r>
            <a:rPr lang="en-GB" dirty="0" err="1">
              <a:solidFill>
                <a:schemeClr val="tx1"/>
              </a:solidFill>
            </a:rPr>
            <a:t>Thực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hiện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sau</a:t>
          </a:r>
          <a:endParaRPr lang="en-GB" dirty="0">
            <a:solidFill>
              <a:schemeClr val="tx1"/>
            </a:solidFill>
          </a:endParaRPr>
        </a:p>
      </dgm:t>
    </dgm:pt>
    <dgm:pt modelId="{C7CDA963-B052-FB4A-9E4B-AB2D4AE4C46B}" type="parTrans" cxnId="{10EEE5D6-FE04-6748-A89F-25FF8FFE2B5D}">
      <dgm:prSet/>
      <dgm:spPr/>
      <dgm:t>
        <a:bodyPr/>
        <a:lstStyle/>
        <a:p>
          <a:endParaRPr lang="en-GB"/>
        </a:p>
      </dgm:t>
    </dgm:pt>
    <dgm:pt modelId="{9D7B64AF-D9C0-3F4F-8DC5-E77BAADBB194}" type="sibTrans" cxnId="{10EEE5D6-FE04-6748-A89F-25FF8FFE2B5D}">
      <dgm:prSet/>
      <dgm:spPr/>
      <dgm:t>
        <a:bodyPr/>
        <a:lstStyle/>
        <a:p>
          <a:endParaRPr lang="en-GB"/>
        </a:p>
      </dgm:t>
    </dgm:pt>
    <dgm:pt modelId="{61E51BC0-2C45-014D-929C-C65131D62E11}">
      <dgm:prSet phldrT="[Text]"/>
      <dgm:spPr/>
      <dgm:t>
        <a:bodyPr/>
        <a:lstStyle/>
        <a:p>
          <a:r>
            <a:rPr lang="en-GB" dirty="0" err="1"/>
            <a:t>Có</a:t>
          </a:r>
          <a:r>
            <a:rPr lang="en-GB" dirty="0"/>
            <a:t> </a:t>
          </a:r>
          <a:r>
            <a:rPr lang="en-GB" dirty="0" err="1"/>
            <a:t>nghi</a:t>
          </a:r>
          <a:r>
            <a:rPr lang="en-GB" dirty="0"/>
            <a:t> </a:t>
          </a:r>
          <a:r>
            <a:rPr lang="en-GB" dirty="0" err="1"/>
            <a:t>ngại</a:t>
          </a:r>
          <a:r>
            <a:rPr lang="en-GB" dirty="0"/>
            <a:t> </a:t>
          </a:r>
          <a:r>
            <a:rPr lang="en-GB" dirty="0" err="1"/>
            <a:t>liên</a:t>
          </a:r>
          <a:r>
            <a:rPr lang="en-GB" dirty="0"/>
            <a:t> </a:t>
          </a:r>
          <a:r>
            <a:rPr lang="en-GB" dirty="0" err="1"/>
            <a:t>quan</a:t>
          </a:r>
          <a:r>
            <a:rPr lang="en-GB" dirty="0"/>
            <a:t> </a:t>
          </a:r>
          <a:r>
            <a:rPr lang="en-GB" dirty="0" err="1"/>
            <a:t>tới</a:t>
          </a:r>
          <a:r>
            <a:rPr lang="en-GB" dirty="0"/>
            <a:t> </a:t>
          </a:r>
          <a:r>
            <a:rPr lang="en-GB" dirty="0" err="1"/>
            <a:t>việc</a:t>
          </a:r>
          <a:r>
            <a:rPr lang="en-GB" dirty="0"/>
            <a:t> </a:t>
          </a:r>
          <a:r>
            <a:rPr lang="en-GB" dirty="0" err="1"/>
            <a:t>trẻ</a:t>
          </a:r>
          <a:r>
            <a:rPr lang="en-GB" dirty="0"/>
            <a:t> </a:t>
          </a:r>
          <a:r>
            <a:rPr lang="en-GB" dirty="0" err="1"/>
            <a:t>bị</a:t>
          </a:r>
          <a:r>
            <a:rPr lang="en-GB" dirty="0"/>
            <a:t> </a:t>
          </a:r>
          <a:r>
            <a:rPr lang="en-GB" dirty="0" err="1"/>
            <a:t>xâm</a:t>
          </a:r>
          <a:r>
            <a:rPr lang="en-GB" dirty="0"/>
            <a:t> </a:t>
          </a:r>
          <a:r>
            <a:rPr lang="en-GB" dirty="0" err="1"/>
            <a:t>hại</a:t>
          </a:r>
          <a:r>
            <a:rPr lang="en-GB" dirty="0"/>
            <a:t> </a:t>
          </a:r>
          <a:r>
            <a:rPr lang="en-GB" dirty="0" err="1"/>
            <a:t>không</a:t>
          </a:r>
          <a:r>
            <a:rPr lang="en-GB" dirty="0"/>
            <a:t>?</a:t>
          </a:r>
        </a:p>
      </dgm:t>
    </dgm:pt>
    <dgm:pt modelId="{F94366A5-58F0-2742-B9A7-1C4ABDA9F6E3}" type="parTrans" cxnId="{F1B7D615-EA9F-924E-B89C-E40ABDBC93A4}">
      <dgm:prSet/>
      <dgm:spPr/>
      <dgm:t>
        <a:bodyPr/>
        <a:lstStyle/>
        <a:p>
          <a:endParaRPr lang="en-GB"/>
        </a:p>
      </dgm:t>
    </dgm:pt>
    <dgm:pt modelId="{698BF791-6D1D-E944-AAF2-FF2B65136AAD}" type="sibTrans" cxnId="{F1B7D615-EA9F-924E-B89C-E40ABDBC93A4}">
      <dgm:prSet/>
      <dgm:spPr/>
      <dgm:t>
        <a:bodyPr/>
        <a:lstStyle/>
        <a:p>
          <a:endParaRPr lang="en-GB"/>
        </a:p>
      </dgm:t>
    </dgm:pt>
    <dgm:pt modelId="{F60F7786-C63F-9646-8B3E-1D9AD629E2ED}">
      <dgm:prSet phldrT="[Text]"/>
      <dgm:spPr/>
      <dgm:t>
        <a:bodyPr/>
        <a:lstStyle/>
        <a:p>
          <a:r>
            <a:rPr lang="en-GB" dirty="0" err="1"/>
            <a:t>Sử</a:t>
          </a:r>
          <a:r>
            <a:rPr lang="en-GB" dirty="0"/>
            <a:t> </a:t>
          </a:r>
          <a:r>
            <a:rPr lang="en-GB" dirty="0" err="1"/>
            <a:t>dụng</a:t>
          </a:r>
          <a:r>
            <a:rPr lang="en-GB" dirty="0"/>
            <a:t> </a:t>
          </a:r>
          <a:r>
            <a:rPr lang="en-GB" dirty="0" err="1"/>
            <a:t>những</a:t>
          </a:r>
          <a:r>
            <a:rPr lang="en-GB" dirty="0"/>
            <a:t> </a:t>
          </a:r>
          <a:r>
            <a:rPr lang="en-GB" dirty="0" err="1"/>
            <a:t>chỉ</a:t>
          </a:r>
          <a:r>
            <a:rPr lang="en-GB" dirty="0"/>
            <a:t> </a:t>
          </a:r>
          <a:r>
            <a:rPr lang="en-GB" dirty="0" err="1"/>
            <a:t>báo</a:t>
          </a:r>
          <a:r>
            <a:rPr lang="en-GB" dirty="0"/>
            <a:t> </a:t>
          </a:r>
          <a:r>
            <a:rPr lang="en-GB" dirty="0" err="1"/>
            <a:t>về</a:t>
          </a:r>
          <a:r>
            <a:rPr lang="en-GB" dirty="0"/>
            <a:t> XHTE</a:t>
          </a:r>
        </a:p>
      </dgm:t>
    </dgm:pt>
    <dgm:pt modelId="{E4BB9A08-0EEA-7E4E-8148-AC7D333C4012}" type="parTrans" cxnId="{58B5C78E-B6E2-7E47-8250-6F84F150F3C5}">
      <dgm:prSet/>
      <dgm:spPr/>
      <dgm:t>
        <a:bodyPr/>
        <a:lstStyle/>
        <a:p>
          <a:endParaRPr lang="en-GB"/>
        </a:p>
      </dgm:t>
    </dgm:pt>
    <dgm:pt modelId="{754882F8-B96A-BA43-8B33-F52430323B07}" type="sibTrans" cxnId="{58B5C78E-B6E2-7E47-8250-6F84F150F3C5}">
      <dgm:prSet/>
      <dgm:spPr/>
      <dgm:t>
        <a:bodyPr/>
        <a:lstStyle/>
        <a:p>
          <a:endParaRPr lang="en-GB"/>
        </a:p>
      </dgm:t>
    </dgm:pt>
    <dgm:pt modelId="{C986CA2D-5F3B-8848-923F-ACCE5A7AD8D5}" type="pres">
      <dgm:prSet presAssocID="{08337B3A-B5E8-9D4C-AF14-2EC165E86615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6F44BF07-1647-6D4B-A5CF-3AB802369BA9}" type="pres">
      <dgm:prSet presAssocID="{D08E84F5-6065-0E42-882F-250D3066F66F}" presName="root" presStyleCnt="0"/>
      <dgm:spPr/>
    </dgm:pt>
    <dgm:pt modelId="{1024F256-FFD1-2840-BB7B-8282419F08FD}" type="pres">
      <dgm:prSet presAssocID="{D08E84F5-6065-0E42-882F-250D3066F66F}" presName="rootComposite" presStyleCnt="0"/>
      <dgm:spPr/>
    </dgm:pt>
    <dgm:pt modelId="{F049BDAD-3AD6-F04C-B66F-02C567D4C785}" type="pres">
      <dgm:prSet presAssocID="{D08E84F5-6065-0E42-882F-250D3066F66F}" presName="rootText" presStyleLbl="node1" presStyleIdx="0" presStyleCnt="2"/>
      <dgm:spPr/>
    </dgm:pt>
    <dgm:pt modelId="{C75C8B60-A596-AC40-BFCF-D7F5AAEA3496}" type="pres">
      <dgm:prSet presAssocID="{D08E84F5-6065-0E42-882F-250D3066F66F}" presName="rootConnector" presStyleLbl="node1" presStyleIdx="0" presStyleCnt="2"/>
      <dgm:spPr/>
    </dgm:pt>
    <dgm:pt modelId="{E3A5C83E-E33C-C442-8D2E-4D9820EEDF89}" type="pres">
      <dgm:prSet presAssocID="{D08E84F5-6065-0E42-882F-250D3066F66F}" presName="childShape" presStyleCnt="0"/>
      <dgm:spPr/>
    </dgm:pt>
    <dgm:pt modelId="{98C9301A-4A1A-094F-AB09-63E3887F9B74}" type="pres">
      <dgm:prSet presAssocID="{B0F982F5-5CFB-A542-9953-A0955A752D1D}" presName="Name13" presStyleLbl="parChTrans1D2" presStyleIdx="0" presStyleCnt="4"/>
      <dgm:spPr/>
    </dgm:pt>
    <dgm:pt modelId="{E5791339-FFB9-E740-A556-1D2B133B07C3}" type="pres">
      <dgm:prSet presAssocID="{1B90B0A0-962F-6742-AEE0-10F0D66D9C02}" presName="childText" presStyleLbl="bgAcc1" presStyleIdx="0" presStyleCnt="4">
        <dgm:presLayoutVars>
          <dgm:bulletEnabled val="1"/>
        </dgm:presLayoutVars>
      </dgm:prSet>
      <dgm:spPr/>
    </dgm:pt>
    <dgm:pt modelId="{09B29549-2FA6-6E4A-AF15-FD64E7A5E52D}" type="pres">
      <dgm:prSet presAssocID="{7C8E035B-263D-474A-8EAD-685D28B76782}" presName="Name13" presStyleLbl="parChTrans1D2" presStyleIdx="1" presStyleCnt="4"/>
      <dgm:spPr/>
    </dgm:pt>
    <dgm:pt modelId="{A24136FE-0636-5542-AB8D-681FA9F127A8}" type="pres">
      <dgm:prSet presAssocID="{11327B00-A43E-264D-B04B-D18CADA7E53E}" presName="childText" presStyleLbl="bgAcc1" presStyleIdx="1" presStyleCnt="4">
        <dgm:presLayoutVars>
          <dgm:bulletEnabled val="1"/>
        </dgm:presLayoutVars>
      </dgm:prSet>
      <dgm:spPr/>
    </dgm:pt>
    <dgm:pt modelId="{22FC7B0B-5C12-0B4B-9428-AC5DC52FBF08}" type="pres">
      <dgm:prSet presAssocID="{A9EF1B4E-3448-B942-B308-7387D0AC848B}" presName="root" presStyleCnt="0"/>
      <dgm:spPr/>
    </dgm:pt>
    <dgm:pt modelId="{F21FB366-772C-8A48-80FB-05306F21B98D}" type="pres">
      <dgm:prSet presAssocID="{A9EF1B4E-3448-B942-B308-7387D0AC848B}" presName="rootComposite" presStyleCnt="0"/>
      <dgm:spPr/>
    </dgm:pt>
    <dgm:pt modelId="{985E64E8-9C44-9747-B423-5CAEBF82F109}" type="pres">
      <dgm:prSet presAssocID="{A9EF1B4E-3448-B942-B308-7387D0AC848B}" presName="rootText" presStyleLbl="node1" presStyleIdx="1" presStyleCnt="2" custLinFactNeighborX="6250" custLinFactNeighborY="2083"/>
      <dgm:spPr/>
    </dgm:pt>
    <dgm:pt modelId="{212BB0F9-AE80-F447-AB5D-EDFD8059D0DF}" type="pres">
      <dgm:prSet presAssocID="{A9EF1B4E-3448-B942-B308-7387D0AC848B}" presName="rootConnector" presStyleLbl="node1" presStyleIdx="1" presStyleCnt="2"/>
      <dgm:spPr/>
    </dgm:pt>
    <dgm:pt modelId="{A7E3D6B8-E009-064F-B9FF-A9F69B22319D}" type="pres">
      <dgm:prSet presAssocID="{A9EF1B4E-3448-B942-B308-7387D0AC848B}" presName="childShape" presStyleCnt="0"/>
      <dgm:spPr/>
    </dgm:pt>
    <dgm:pt modelId="{1ECF5AE4-C462-9645-9E48-872013FE2746}" type="pres">
      <dgm:prSet presAssocID="{F94366A5-58F0-2742-B9A7-1C4ABDA9F6E3}" presName="Name13" presStyleLbl="parChTrans1D2" presStyleIdx="2" presStyleCnt="4"/>
      <dgm:spPr/>
    </dgm:pt>
    <dgm:pt modelId="{4A059B37-A5C6-624F-802D-77AAE74BE397}" type="pres">
      <dgm:prSet presAssocID="{61E51BC0-2C45-014D-929C-C65131D62E11}" presName="childText" presStyleLbl="bgAcc1" presStyleIdx="2" presStyleCnt="4">
        <dgm:presLayoutVars>
          <dgm:bulletEnabled val="1"/>
        </dgm:presLayoutVars>
      </dgm:prSet>
      <dgm:spPr/>
    </dgm:pt>
    <dgm:pt modelId="{EFF07E58-C768-4C4A-9C2A-2AD9C13F0503}" type="pres">
      <dgm:prSet presAssocID="{E4BB9A08-0EEA-7E4E-8148-AC7D333C4012}" presName="Name13" presStyleLbl="parChTrans1D2" presStyleIdx="3" presStyleCnt="4"/>
      <dgm:spPr/>
    </dgm:pt>
    <dgm:pt modelId="{7211AE43-3748-134F-A0FB-C772F61C537E}" type="pres">
      <dgm:prSet presAssocID="{F60F7786-C63F-9646-8B3E-1D9AD629E2ED}" presName="childText" presStyleLbl="bgAcc1" presStyleIdx="3" presStyleCnt="4">
        <dgm:presLayoutVars>
          <dgm:bulletEnabled val="1"/>
        </dgm:presLayoutVars>
      </dgm:prSet>
      <dgm:spPr/>
    </dgm:pt>
  </dgm:ptLst>
  <dgm:cxnLst>
    <dgm:cxn modelId="{ADC0CA13-6581-3048-89D5-C4F001978C5B}" type="presOf" srcId="{11327B00-A43E-264D-B04B-D18CADA7E53E}" destId="{A24136FE-0636-5542-AB8D-681FA9F127A8}" srcOrd="0" destOrd="0" presId="urn:microsoft.com/office/officeart/2005/8/layout/hierarchy3"/>
    <dgm:cxn modelId="{F1B7D615-EA9F-924E-B89C-E40ABDBC93A4}" srcId="{A9EF1B4E-3448-B942-B308-7387D0AC848B}" destId="{61E51BC0-2C45-014D-929C-C65131D62E11}" srcOrd="0" destOrd="0" parTransId="{F94366A5-58F0-2742-B9A7-1C4ABDA9F6E3}" sibTransId="{698BF791-6D1D-E944-AAF2-FF2B65136AAD}"/>
    <dgm:cxn modelId="{B16C5217-077C-DC47-BB0D-9D5C5BFD99FE}" type="presOf" srcId="{F94366A5-58F0-2742-B9A7-1C4ABDA9F6E3}" destId="{1ECF5AE4-C462-9645-9E48-872013FE2746}" srcOrd="0" destOrd="0" presId="urn:microsoft.com/office/officeart/2005/8/layout/hierarchy3"/>
    <dgm:cxn modelId="{54349D36-F073-A744-9AC2-601E8C24FD49}" type="presOf" srcId="{1B90B0A0-962F-6742-AEE0-10F0D66D9C02}" destId="{E5791339-FFB9-E740-A556-1D2B133B07C3}" srcOrd="0" destOrd="0" presId="urn:microsoft.com/office/officeart/2005/8/layout/hierarchy3"/>
    <dgm:cxn modelId="{9B64E645-4432-1940-88CC-3B441C49AC19}" type="presOf" srcId="{D08E84F5-6065-0E42-882F-250D3066F66F}" destId="{F049BDAD-3AD6-F04C-B66F-02C567D4C785}" srcOrd="0" destOrd="0" presId="urn:microsoft.com/office/officeart/2005/8/layout/hierarchy3"/>
    <dgm:cxn modelId="{60083F70-F6ED-AE40-90B9-E8193093EC58}" type="presOf" srcId="{61E51BC0-2C45-014D-929C-C65131D62E11}" destId="{4A059B37-A5C6-624F-802D-77AAE74BE397}" srcOrd="0" destOrd="0" presId="urn:microsoft.com/office/officeart/2005/8/layout/hierarchy3"/>
    <dgm:cxn modelId="{6DF56C74-B301-104F-BB39-CCC41FA4C8BA}" srcId="{08337B3A-B5E8-9D4C-AF14-2EC165E86615}" destId="{D08E84F5-6065-0E42-882F-250D3066F66F}" srcOrd="0" destOrd="0" parTransId="{CF6DEBF3-CCCB-1F4C-9B3D-6BACAD6A6287}" sibTransId="{25E6824D-141B-294B-B97F-26239AA29143}"/>
    <dgm:cxn modelId="{68378976-CAC5-DF4D-96DE-38AAD29B2B8C}" type="presOf" srcId="{08337B3A-B5E8-9D4C-AF14-2EC165E86615}" destId="{C986CA2D-5F3B-8848-923F-ACCE5A7AD8D5}" srcOrd="0" destOrd="0" presId="urn:microsoft.com/office/officeart/2005/8/layout/hierarchy3"/>
    <dgm:cxn modelId="{8CF85389-7393-FF4E-B6C4-11B8F0190C64}" type="presOf" srcId="{B0F982F5-5CFB-A542-9953-A0955A752D1D}" destId="{98C9301A-4A1A-094F-AB09-63E3887F9B74}" srcOrd="0" destOrd="0" presId="urn:microsoft.com/office/officeart/2005/8/layout/hierarchy3"/>
    <dgm:cxn modelId="{FF37428B-843C-DF4A-9903-1E0C7D98A7F8}" type="presOf" srcId="{F60F7786-C63F-9646-8B3E-1D9AD629E2ED}" destId="{7211AE43-3748-134F-A0FB-C772F61C537E}" srcOrd="0" destOrd="0" presId="urn:microsoft.com/office/officeart/2005/8/layout/hierarchy3"/>
    <dgm:cxn modelId="{58B5C78E-B6E2-7E47-8250-6F84F150F3C5}" srcId="{A9EF1B4E-3448-B942-B308-7387D0AC848B}" destId="{F60F7786-C63F-9646-8B3E-1D9AD629E2ED}" srcOrd="1" destOrd="0" parTransId="{E4BB9A08-0EEA-7E4E-8148-AC7D333C4012}" sibTransId="{754882F8-B96A-BA43-8B33-F52430323B07}"/>
    <dgm:cxn modelId="{0823E398-8FE2-914C-9520-82D81B5F4C48}" type="presOf" srcId="{A9EF1B4E-3448-B942-B308-7387D0AC848B}" destId="{212BB0F9-AE80-F447-AB5D-EDFD8059D0DF}" srcOrd="1" destOrd="0" presId="urn:microsoft.com/office/officeart/2005/8/layout/hierarchy3"/>
    <dgm:cxn modelId="{5A7A919F-C854-054D-AA95-ACE0707DAC6F}" type="presOf" srcId="{A9EF1B4E-3448-B942-B308-7387D0AC848B}" destId="{985E64E8-9C44-9747-B423-5CAEBF82F109}" srcOrd="0" destOrd="0" presId="urn:microsoft.com/office/officeart/2005/8/layout/hierarchy3"/>
    <dgm:cxn modelId="{4E6A2CAF-2080-C441-B336-98BB121A8EB6}" type="presOf" srcId="{D08E84F5-6065-0E42-882F-250D3066F66F}" destId="{C75C8B60-A596-AC40-BFCF-D7F5AAEA3496}" srcOrd="1" destOrd="0" presId="urn:microsoft.com/office/officeart/2005/8/layout/hierarchy3"/>
    <dgm:cxn modelId="{9245A3B2-9649-9D45-A138-7A5E3FBB32E8}" type="presOf" srcId="{E4BB9A08-0EEA-7E4E-8148-AC7D333C4012}" destId="{EFF07E58-C768-4C4A-9C2A-2AD9C13F0503}" srcOrd="0" destOrd="0" presId="urn:microsoft.com/office/officeart/2005/8/layout/hierarchy3"/>
    <dgm:cxn modelId="{10EEE5D6-FE04-6748-A89F-25FF8FFE2B5D}" srcId="{08337B3A-B5E8-9D4C-AF14-2EC165E86615}" destId="{A9EF1B4E-3448-B942-B308-7387D0AC848B}" srcOrd="1" destOrd="0" parTransId="{C7CDA963-B052-FB4A-9E4B-AB2D4AE4C46B}" sibTransId="{9D7B64AF-D9C0-3F4F-8DC5-E77BAADBB194}"/>
    <dgm:cxn modelId="{A1FD07DA-3FBA-A242-A76C-11C59CA9D3EF}" srcId="{D08E84F5-6065-0E42-882F-250D3066F66F}" destId="{11327B00-A43E-264D-B04B-D18CADA7E53E}" srcOrd="1" destOrd="0" parTransId="{7C8E035B-263D-474A-8EAD-685D28B76782}" sibTransId="{F6ADD33D-9ED6-3C41-BC05-C73AC7EA66A8}"/>
    <dgm:cxn modelId="{9BD2ADE2-AA04-294A-9781-C2196386533C}" srcId="{D08E84F5-6065-0E42-882F-250D3066F66F}" destId="{1B90B0A0-962F-6742-AEE0-10F0D66D9C02}" srcOrd="0" destOrd="0" parTransId="{B0F982F5-5CFB-A542-9953-A0955A752D1D}" sibTransId="{F445E224-7A55-9A4D-A733-570FB30AA2DA}"/>
    <dgm:cxn modelId="{DA0BA9FA-D98D-1847-8917-8682CE83E1DD}" type="presOf" srcId="{7C8E035B-263D-474A-8EAD-685D28B76782}" destId="{09B29549-2FA6-6E4A-AF15-FD64E7A5E52D}" srcOrd="0" destOrd="0" presId="urn:microsoft.com/office/officeart/2005/8/layout/hierarchy3"/>
    <dgm:cxn modelId="{0326C9E2-86E9-CC4A-AC68-8A19048FA0D2}" type="presParOf" srcId="{C986CA2D-5F3B-8848-923F-ACCE5A7AD8D5}" destId="{6F44BF07-1647-6D4B-A5CF-3AB802369BA9}" srcOrd="0" destOrd="0" presId="urn:microsoft.com/office/officeart/2005/8/layout/hierarchy3"/>
    <dgm:cxn modelId="{9E348306-F841-0C40-932B-F37077BE12D4}" type="presParOf" srcId="{6F44BF07-1647-6D4B-A5CF-3AB802369BA9}" destId="{1024F256-FFD1-2840-BB7B-8282419F08FD}" srcOrd="0" destOrd="0" presId="urn:microsoft.com/office/officeart/2005/8/layout/hierarchy3"/>
    <dgm:cxn modelId="{C5E0890A-15B4-D040-96BE-4A941F56B6B0}" type="presParOf" srcId="{1024F256-FFD1-2840-BB7B-8282419F08FD}" destId="{F049BDAD-3AD6-F04C-B66F-02C567D4C785}" srcOrd="0" destOrd="0" presId="urn:microsoft.com/office/officeart/2005/8/layout/hierarchy3"/>
    <dgm:cxn modelId="{23BCFD25-F1D2-024A-97E7-148F412C8C97}" type="presParOf" srcId="{1024F256-FFD1-2840-BB7B-8282419F08FD}" destId="{C75C8B60-A596-AC40-BFCF-D7F5AAEA3496}" srcOrd="1" destOrd="0" presId="urn:microsoft.com/office/officeart/2005/8/layout/hierarchy3"/>
    <dgm:cxn modelId="{F2C6E332-53B1-F247-B8A0-5C7C5297B3BD}" type="presParOf" srcId="{6F44BF07-1647-6D4B-A5CF-3AB802369BA9}" destId="{E3A5C83E-E33C-C442-8D2E-4D9820EEDF89}" srcOrd="1" destOrd="0" presId="urn:microsoft.com/office/officeart/2005/8/layout/hierarchy3"/>
    <dgm:cxn modelId="{BB6C16E8-D57A-0645-A191-471C20D28FF8}" type="presParOf" srcId="{E3A5C83E-E33C-C442-8D2E-4D9820EEDF89}" destId="{98C9301A-4A1A-094F-AB09-63E3887F9B74}" srcOrd="0" destOrd="0" presId="urn:microsoft.com/office/officeart/2005/8/layout/hierarchy3"/>
    <dgm:cxn modelId="{645C2C1C-9A97-774E-898E-781E183593B2}" type="presParOf" srcId="{E3A5C83E-E33C-C442-8D2E-4D9820EEDF89}" destId="{E5791339-FFB9-E740-A556-1D2B133B07C3}" srcOrd="1" destOrd="0" presId="urn:microsoft.com/office/officeart/2005/8/layout/hierarchy3"/>
    <dgm:cxn modelId="{CFF737AE-7315-F54C-916E-6E56CC90143D}" type="presParOf" srcId="{E3A5C83E-E33C-C442-8D2E-4D9820EEDF89}" destId="{09B29549-2FA6-6E4A-AF15-FD64E7A5E52D}" srcOrd="2" destOrd="0" presId="urn:microsoft.com/office/officeart/2005/8/layout/hierarchy3"/>
    <dgm:cxn modelId="{513E6978-3335-8145-951D-FDACA336CCD2}" type="presParOf" srcId="{E3A5C83E-E33C-C442-8D2E-4D9820EEDF89}" destId="{A24136FE-0636-5542-AB8D-681FA9F127A8}" srcOrd="3" destOrd="0" presId="urn:microsoft.com/office/officeart/2005/8/layout/hierarchy3"/>
    <dgm:cxn modelId="{AACD5E17-67BF-6344-B6D6-0103F41811E5}" type="presParOf" srcId="{C986CA2D-5F3B-8848-923F-ACCE5A7AD8D5}" destId="{22FC7B0B-5C12-0B4B-9428-AC5DC52FBF08}" srcOrd="1" destOrd="0" presId="urn:microsoft.com/office/officeart/2005/8/layout/hierarchy3"/>
    <dgm:cxn modelId="{C3D15D45-A791-0044-ACA8-E2A945897CDD}" type="presParOf" srcId="{22FC7B0B-5C12-0B4B-9428-AC5DC52FBF08}" destId="{F21FB366-772C-8A48-80FB-05306F21B98D}" srcOrd="0" destOrd="0" presId="urn:microsoft.com/office/officeart/2005/8/layout/hierarchy3"/>
    <dgm:cxn modelId="{ECFA3A9D-204F-9C4F-95FD-989DDF1274A4}" type="presParOf" srcId="{F21FB366-772C-8A48-80FB-05306F21B98D}" destId="{985E64E8-9C44-9747-B423-5CAEBF82F109}" srcOrd="0" destOrd="0" presId="urn:microsoft.com/office/officeart/2005/8/layout/hierarchy3"/>
    <dgm:cxn modelId="{B70A301F-E770-714F-8C8C-311C9340E843}" type="presParOf" srcId="{F21FB366-772C-8A48-80FB-05306F21B98D}" destId="{212BB0F9-AE80-F447-AB5D-EDFD8059D0DF}" srcOrd="1" destOrd="0" presId="urn:microsoft.com/office/officeart/2005/8/layout/hierarchy3"/>
    <dgm:cxn modelId="{7FF45FB3-060C-E646-B3D5-09ADB5346CE3}" type="presParOf" srcId="{22FC7B0B-5C12-0B4B-9428-AC5DC52FBF08}" destId="{A7E3D6B8-E009-064F-B9FF-A9F69B22319D}" srcOrd="1" destOrd="0" presId="urn:microsoft.com/office/officeart/2005/8/layout/hierarchy3"/>
    <dgm:cxn modelId="{88788936-976D-554D-808B-4595523E7BF0}" type="presParOf" srcId="{A7E3D6B8-E009-064F-B9FF-A9F69B22319D}" destId="{1ECF5AE4-C462-9645-9E48-872013FE2746}" srcOrd="0" destOrd="0" presId="urn:microsoft.com/office/officeart/2005/8/layout/hierarchy3"/>
    <dgm:cxn modelId="{B2537895-1AA9-444B-9A8F-76F77576A5C8}" type="presParOf" srcId="{A7E3D6B8-E009-064F-B9FF-A9F69B22319D}" destId="{4A059B37-A5C6-624F-802D-77AAE74BE397}" srcOrd="1" destOrd="0" presId="urn:microsoft.com/office/officeart/2005/8/layout/hierarchy3"/>
    <dgm:cxn modelId="{D8947452-C541-8C44-8D97-5CEEB5299FDD}" type="presParOf" srcId="{A7E3D6B8-E009-064F-B9FF-A9F69B22319D}" destId="{EFF07E58-C768-4C4A-9C2A-2AD9C13F0503}" srcOrd="2" destOrd="0" presId="urn:microsoft.com/office/officeart/2005/8/layout/hierarchy3"/>
    <dgm:cxn modelId="{E669A441-0413-2643-8297-DFB5C51864AA}" type="presParOf" srcId="{A7E3D6B8-E009-064F-B9FF-A9F69B22319D}" destId="{7211AE43-3748-134F-A0FB-C772F61C537E}" srcOrd="3" destOrd="0" presId="urn:microsoft.com/office/officeart/2005/8/layout/hierarchy3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7.xml><?xml version="1.0" encoding="utf-8"?>
<dgm:dataModel xmlns:dgm="http://schemas.openxmlformats.org/drawingml/2006/diagram" xmlns:a="http://schemas.openxmlformats.org/drawingml/2006/main">
  <dgm:ptLst>
    <dgm:pt modelId="{ECF8D268-3B9D-2840-B094-3A31AEC56EB5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8380AA63-4B47-3B4A-A37E-28C378D4C6D3}">
      <dgm:prSet phldrT="[Text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iều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ơn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1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áp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ứng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ở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ức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ù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gm:t>
    </dgm:pt>
    <dgm:pt modelId="{A72958DC-E1D3-8B4B-8FA0-CC6D559A929F}" type="parTrans" cxnId="{CBD71A3D-CE02-A94D-B306-F1DD5A21C7B1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35B16316-5078-244F-9FD1-43632BA155C5}" type="sibTrans" cxnId="{CBD71A3D-CE02-A94D-B306-F1DD5A21C7B1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7D2D06C6-6773-FE44-9F93-E501C9D9A36C}">
      <dgm:prSet phldrT="[Text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iều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ày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ẫn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1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iều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ơn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1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ình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ức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XHTE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ảy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a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(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ạo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h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ỏ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ặc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).</a:t>
          </a:r>
        </a:p>
      </dgm:t>
    </dgm:pt>
    <dgm:pt modelId="{9EB0C6C7-468B-8A44-B4C1-CDDA2F6AB6C0}" type="parTrans" cxnId="{06153406-B941-5F49-83CF-9AF6AB1C9D7C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EA83C98A-AE00-BF4A-B7B7-74CC63C5EBE9}" type="sibTrans" cxnId="{06153406-B941-5F49-83CF-9AF6AB1C9D7C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E0C9EDEB-7E03-2444-B6FC-3DAD5C4F9629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ẫ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â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ỏ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:</a:t>
          </a: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ào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a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ấ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ề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?</a:t>
          </a: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ì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ứ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ào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ã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ảy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?</a:t>
          </a: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ứ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uy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ã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ảy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ư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ế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ào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? [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ờ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a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ứ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ầ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ọ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]</a:t>
          </a:r>
        </a:p>
      </dgm:t>
    </dgm:pt>
    <dgm:pt modelId="{8A1A13A5-8BC0-5F40-9ABE-BE626EB71866}" type="parTrans" cxnId="{703A0154-97FE-2A40-A8CB-682F683F0993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A5FBCEA7-74AB-4F4A-AB9E-F5487CF9C658}" type="sibTrans" cxnId="{703A0154-97FE-2A40-A8CB-682F683F0993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E061710F-8560-A343-A911-83DD00CC3855}" type="pres">
      <dgm:prSet presAssocID="{ECF8D268-3B9D-2840-B094-3A31AEC56EB5}" presName="CompostProcess" presStyleCnt="0">
        <dgm:presLayoutVars>
          <dgm:dir/>
          <dgm:resizeHandles val="exact"/>
        </dgm:presLayoutVars>
      </dgm:prSet>
      <dgm:spPr/>
    </dgm:pt>
    <dgm:pt modelId="{BFC421CB-361D-EE47-B345-AF29AB3DBB5C}" type="pres">
      <dgm:prSet presAssocID="{ECF8D268-3B9D-2840-B094-3A31AEC56EB5}" presName="arrow" presStyleLbl="bgShp" presStyleIdx="0" presStyleCnt="1"/>
      <dgm:spPr/>
    </dgm:pt>
    <dgm:pt modelId="{701B272A-CA10-2D44-9B07-E0D874950CF9}" type="pres">
      <dgm:prSet presAssocID="{ECF8D268-3B9D-2840-B094-3A31AEC56EB5}" presName="linearProcess" presStyleCnt="0"/>
      <dgm:spPr/>
    </dgm:pt>
    <dgm:pt modelId="{1530E863-DDE4-3940-8C9C-912AEC9B2601}" type="pres">
      <dgm:prSet presAssocID="{8380AA63-4B47-3B4A-A37E-28C378D4C6D3}" presName="textNode" presStyleLbl="node1" presStyleIdx="0" presStyleCnt="3" custScaleY="158952">
        <dgm:presLayoutVars>
          <dgm:bulletEnabled val="1"/>
        </dgm:presLayoutVars>
      </dgm:prSet>
      <dgm:spPr/>
    </dgm:pt>
    <dgm:pt modelId="{0203F25B-3E72-9C49-A78F-8035E91B468B}" type="pres">
      <dgm:prSet presAssocID="{35B16316-5078-244F-9FD1-43632BA155C5}" presName="sibTrans" presStyleCnt="0"/>
      <dgm:spPr/>
    </dgm:pt>
    <dgm:pt modelId="{6EFC796D-7B0F-7C43-BE6A-C2A6D43F83CB}" type="pres">
      <dgm:prSet presAssocID="{7D2D06C6-6773-FE44-9F93-E501C9D9A36C}" presName="textNode" presStyleLbl="node1" presStyleIdx="1" presStyleCnt="3" custScaleY="167091">
        <dgm:presLayoutVars>
          <dgm:bulletEnabled val="1"/>
        </dgm:presLayoutVars>
      </dgm:prSet>
      <dgm:spPr/>
    </dgm:pt>
    <dgm:pt modelId="{7C4AF212-0885-AF4B-99BA-A40C793866BF}" type="pres">
      <dgm:prSet presAssocID="{EA83C98A-AE00-BF4A-B7B7-74CC63C5EBE9}" presName="sibTrans" presStyleCnt="0"/>
      <dgm:spPr/>
    </dgm:pt>
    <dgm:pt modelId="{5F58D4BA-B159-7249-99B0-3423920AFC37}" type="pres">
      <dgm:prSet presAssocID="{E0C9EDEB-7E03-2444-B6FC-3DAD5C4F9629}" presName="textNode" presStyleLbl="node1" presStyleIdx="2" presStyleCnt="3" custScaleY="217909">
        <dgm:presLayoutVars>
          <dgm:bulletEnabled val="1"/>
        </dgm:presLayoutVars>
      </dgm:prSet>
      <dgm:spPr/>
    </dgm:pt>
  </dgm:ptLst>
  <dgm:cxnLst>
    <dgm:cxn modelId="{06153406-B941-5F49-83CF-9AF6AB1C9D7C}" srcId="{ECF8D268-3B9D-2840-B094-3A31AEC56EB5}" destId="{7D2D06C6-6773-FE44-9F93-E501C9D9A36C}" srcOrd="1" destOrd="0" parTransId="{9EB0C6C7-468B-8A44-B4C1-CDDA2F6AB6C0}" sibTransId="{EA83C98A-AE00-BF4A-B7B7-74CC63C5EBE9}"/>
    <dgm:cxn modelId="{7AEB711A-C9C5-6D47-930D-0DDF8286F955}" type="presOf" srcId="{7D2D06C6-6773-FE44-9F93-E501C9D9A36C}" destId="{6EFC796D-7B0F-7C43-BE6A-C2A6D43F83CB}" srcOrd="0" destOrd="0" presId="urn:microsoft.com/office/officeart/2005/8/layout/hProcess9"/>
    <dgm:cxn modelId="{CBD71A3D-CE02-A94D-B306-F1DD5A21C7B1}" srcId="{ECF8D268-3B9D-2840-B094-3A31AEC56EB5}" destId="{8380AA63-4B47-3B4A-A37E-28C378D4C6D3}" srcOrd="0" destOrd="0" parTransId="{A72958DC-E1D3-8B4B-8FA0-CC6D559A929F}" sibTransId="{35B16316-5078-244F-9FD1-43632BA155C5}"/>
    <dgm:cxn modelId="{703A0154-97FE-2A40-A8CB-682F683F0993}" srcId="{ECF8D268-3B9D-2840-B094-3A31AEC56EB5}" destId="{E0C9EDEB-7E03-2444-B6FC-3DAD5C4F9629}" srcOrd="2" destOrd="0" parTransId="{8A1A13A5-8BC0-5F40-9ABE-BE626EB71866}" sibTransId="{A5FBCEA7-74AB-4F4A-AB9E-F5487CF9C658}"/>
    <dgm:cxn modelId="{2ACD1791-210E-754C-8AE1-297660D04919}" type="presOf" srcId="{8380AA63-4B47-3B4A-A37E-28C378D4C6D3}" destId="{1530E863-DDE4-3940-8C9C-912AEC9B2601}" srcOrd="0" destOrd="0" presId="urn:microsoft.com/office/officeart/2005/8/layout/hProcess9"/>
    <dgm:cxn modelId="{E089E7C3-6337-B642-B049-5AE26D32DD5C}" type="presOf" srcId="{ECF8D268-3B9D-2840-B094-3A31AEC56EB5}" destId="{E061710F-8560-A343-A911-83DD00CC3855}" srcOrd="0" destOrd="0" presId="urn:microsoft.com/office/officeart/2005/8/layout/hProcess9"/>
    <dgm:cxn modelId="{139E7AD7-4CA5-E149-820E-449A41ED4F9F}" type="presOf" srcId="{E0C9EDEB-7E03-2444-B6FC-3DAD5C4F9629}" destId="{5F58D4BA-B159-7249-99B0-3423920AFC37}" srcOrd="0" destOrd="0" presId="urn:microsoft.com/office/officeart/2005/8/layout/hProcess9"/>
    <dgm:cxn modelId="{BD0D424F-D9AB-FE47-988B-494469BE297D}" type="presParOf" srcId="{E061710F-8560-A343-A911-83DD00CC3855}" destId="{BFC421CB-361D-EE47-B345-AF29AB3DBB5C}" srcOrd="0" destOrd="0" presId="urn:microsoft.com/office/officeart/2005/8/layout/hProcess9"/>
    <dgm:cxn modelId="{7F12E640-7FE0-FE45-96A5-A5180E307008}" type="presParOf" srcId="{E061710F-8560-A343-A911-83DD00CC3855}" destId="{701B272A-CA10-2D44-9B07-E0D874950CF9}" srcOrd="1" destOrd="0" presId="urn:microsoft.com/office/officeart/2005/8/layout/hProcess9"/>
    <dgm:cxn modelId="{BAAF875C-9369-9741-A01F-772DBB1DB37E}" type="presParOf" srcId="{701B272A-CA10-2D44-9B07-E0D874950CF9}" destId="{1530E863-DDE4-3940-8C9C-912AEC9B2601}" srcOrd="0" destOrd="0" presId="urn:microsoft.com/office/officeart/2005/8/layout/hProcess9"/>
    <dgm:cxn modelId="{6C47EA9A-7063-1347-955B-52539EADD3F8}" type="presParOf" srcId="{701B272A-CA10-2D44-9B07-E0D874950CF9}" destId="{0203F25B-3E72-9C49-A78F-8035E91B468B}" srcOrd="1" destOrd="0" presId="urn:microsoft.com/office/officeart/2005/8/layout/hProcess9"/>
    <dgm:cxn modelId="{4BA15F35-AAA3-3C40-BD17-529147946188}" type="presParOf" srcId="{701B272A-CA10-2D44-9B07-E0D874950CF9}" destId="{6EFC796D-7B0F-7C43-BE6A-C2A6D43F83CB}" srcOrd="2" destOrd="0" presId="urn:microsoft.com/office/officeart/2005/8/layout/hProcess9"/>
    <dgm:cxn modelId="{C7FFE3F9-3872-2E46-8FA4-BE789305386E}" type="presParOf" srcId="{701B272A-CA10-2D44-9B07-E0D874950CF9}" destId="{7C4AF212-0885-AF4B-99BA-A40C793866BF}" srcOrd="3" destOrd="0" presId="urn:microsoft.com/office/officeart/2005/8/layout/hProcess9"/>
    <dgm:cxn modelId="{01CCCCCF-0CB3-3F4D-BCA1-1ABBFA3F7B16}" type="presParOf" srcId="{701B272A-CA10-2D44-9B07-E0D874950CF9}" destId="{5F58D4BA-B159-7249-99B0-3423920AFC37}" srcOrd="4" destOrd="0" presId="urn:microsoft.com/office/officeart/2005/8/layout/hProcess9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8.xml><?xml version="1.0" encoding="utf-8"?>
<dgm:dataModel xmlns:dgm="http://schemas.openxmlformats.org/drawingml/2006/diagram" xmlns:a="http://schemas.openxmlformats.org/drawingml/2006/main">
  <dgm:ptLst>
    <dgm:pt modelId="{16211FD5-E323-8E48-80AD-46DA8A0CBAA1}" type="doc">
      <dgm:prSet loTypeId="urn:microsoft.com/office/officeart/2005/8/layout/vList6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E0980767-06B1-314E-BADD-E06E329D7BCD}">
      <dgm:prSet phldrT="[Text]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</a:rPr>
            <a:t>Nghi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ngại</a:t>
          </a:r>
          <a:endParaRPr lang="en-GB" dirty="0">
            <a:solidFill>
              <a:schemeClr val="tx1"/>
            </a:solidFill>
          </a:endParaRPr>
        </a:p>
      </dgm:t>
    </dgm:pt>
    <dgm:pt modelId="{F4640BAA-B33F-214F-B79C-8D44BBCAA04E}" type="parTrans" cxnId="{DDECBD6E-1BEC-474C-9E5D-0CDB191DA5B7}">
      <dgm:prSet/>
      <dgm:spPr/>
      <dgm:t>
        <a:bodyPr/>
        <a:lstStyle/>
        <a:p>
          <a:endParaRPr lang="en-GB"/>
        </a:p>
      </dgm:t>
    </dgm:pt>
    <dgm:pt modelId="{C01414DA-6E8E-6A43-8288-F514E0D2974B}" type="sibTrans" cxnId="{DDECBD6E-1BEC-474C-9E5D-0CDB191DA5B7}">
      <dgm:prSet/>
      <dgm:spPr/>
      <dgm:t>
        <a:bodyPr/>
        <a:lstStyle/>
        <a:p>
          <a:endParaRPr lang="en-GB"/>
        </a:p>
      </dgm:t>
    </dgm:pt>
    <dgm:pt modelId="{D0644AD9-818B-EF4E-A150-E265FAEB8208}">
      <dgm:prSet phldrT="[Text]"/>
      <dgm:spPr/>
      <dgm:t>
        <a:bodyPr/>
        <a:lstStyle/>
        <a:p>
          <a:r>
            <a:rPr lang="en-GB" dirty="0" err="1"/>
            <a:t>Không</a:t>
          </a:r>
          <a:r>
            <a:rPr lang="en-GB" dirty="0"/>
            <a:t> </a:t>
          </a:r>
          <a:r>
            <a:rPr lang="en-GB" dirty="0" err="1"/>
            <a:t>xác</a:t>
          </a:r>
          <a:r>
            <a:rPr lang="en-GB" dirty="0"/>
            <a:t> </a:t>
          </a:r>
          <a:r>
            <a:rPr lang="en-GB" dirty="0" err="1"/>
            <a:t>định</a:t>
          </a:r>
          <a:r>
            <a:rPr lang="en-GB" dirty="0"/>
            <a:t> </a:t>
          </a:r>
          <a:r>
            <a:rPr lang="en-GB" dirty="0" err="1"/>
            <a:t>rõ</a:t>
          </a:r>
          <a:r>
            <a:rPr lang="en-GB" dirty="0"/>
            <a:t> </a:t>
          </a:r>
          <a:r>
            <a:rPr lang="en-GB" dirty="0" err="1"/>
            <a:t>ràng</a:t>
          </a:r>
          <a:r>
            <a:rPr lang="en-GB" dirty="0"/>
            <a:t> </a:t>
          </a:r>
          <a:r>
            <a:rPr lang="en-GB" dirty="0" err="1"/>
            <a:t>việc</a:t>
          </a:r>
          <a:r>
            <a:rPr lang="en-GB" dirty="0"/>
            <a:t> </a:t>
          </a:r>
          <a:r>
            <a:rPr lang="en-GB" dirty="0" err="1"/>
            <a:t>xảy</a:t>
          </a:r>
          <a:r>
            <a:rPr lang="en-GB" dirty="0"/>
            <a:t> </a:t>
          </a:r>
          <a:r>
            <a:rPr lang="en-GB" dirty="0" err="1"/>
            <a:t>ra</a:t>
          </a:r>
          <a:r>
            <a:rPr lang="en-GB" dirty="0"/>
            <a:t> </a:t>
          </a:r>
          <a:r>
            <a:rPr lang="en-GB" dirty="0" err="1"/>
            <a:t>với</a:t>
          </a:r>
          <a:r>
            <a:rPr lang="en-GB" dirty="0"/>
            <a:t> </a:t>
          </a:r>
          <a:r>
            <a:rPr lang="en-GB" dirty="0" err="1"/>
            <a:t>trẻ</a:t>
          </a:r>
          <a:r>
            <a:rPr lang="en-GB" dirty="0"/>
            <a:t> </a:t>
          </a:r>
          <a:r>
            <a:rPr lang="en-GB" dirty="0" err="1"/>
            <a:t>có</a:t>
          </a:r>
          <a:r>
            <a:rPr lang="en-GB" dirty="0"/>
            <a:t> </a:t>
          </a:r>
          <a:r>
            <a:rPr lang="en-GB" dirty="0" err="1"/>
            <a:t>gì</a:t>
          </a:r>
          <a:r>
            <a:rPr lang="en-GB" dirty="0"/>
            <a:t> </a:t>
          </a:r>
          <a:r>
            <a:rPr lang="en-GB" dirty="0" err="1"/>
            <a:t>sai</a:t>
          </a:r>
          <a:r>
            <a:rPr lang="en-GB" dirty="0"/>
            <a:t>, </a:t>
          </a:r>
          <a:r>
            <a:rPr lang="en-GB" dirty="0" err="1"/>
            <a:t>tuy</a:t>
          </a:r>
          <a:r>
            <a:rPr lang="en-GB" dirty="0"/>
            <a:t> </a:t>
          </a:r>
          <a:r>
            <a:rPr lang="en-GB" dirty="0" err="1"/>
            <a:t>nhiên</a:t>
          </a:r>
          <a:r>
            <a:rPr lang="en-GB" dirty="0"/>
            <a:t>:</a:t>
          </a:r>
        </a:p>
      </dgm:t>
    </dgm:pt>
    <dgm:pt modelId="{D4F094DE-D876-6C44-B00A-9BE8C64601EF}" type="parTrans" cxnId="{DC4B9949-E776-DB48-AA02-38F5932C4256}">
      <dgm:prSet/>
      <dgm:spPr/>
      <dgm:t>
        <a:bodyPr/>
        <a:lstStyle/>
        <a:p>
          <a:endParaRPr lang="en-GB"/>
        </a:p>
      </dgm:t>
    </dgm:pt>
    <dgm:pt modelId="{84D0F4EE-F07C-874E-84D7-B63275263877}" type="sibTrans" cxnId="{DC4B9949-E776-DB48-AA02-38F5932C4256}">
      <dgm:prSet/>
      <dgm:spPr/>
      <dgm:t>
        <a:bodyPr/>
        <a:lstStyle/>
        <a:p>
          <a:endParaRPr lang="en-GB"/>
        </a:p>
      </dgm:t>
    </dgm:pt>
    <dgm:pt modelId="{CBE179E4-08AF-0F4A-9936-7C808C5C7BF6}">
      <dgm:prSet phldrT="[Text]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</a:rPr>
            <a:t>Cáo</a:t>
          </a:r>
          <a:r>
            <a:rPr lang="en-GB" dirty="0">
              <a:solidFill>
                <a:schemeClr val="tx1"/>
              </a:solidFill>
            </a:rPr>
            <a:t> </a:t>
          </a:r>
          <a:r>
            <a:rPr lang="en-GB" dirty="0" err="1">
              <a:solidFill>
                <a:schemeClr val="tx1"/>
              </a:solidFill>
            </a:rPr>
            <a:t>buộc</a:t>
          </a:r>
          <a:endParaRPr lang="en-GB" dirty="0">
            <a:solidFill>
              <a:schemeClr val="tx1"/>
            </a:solidFill>
          </a:endParaRPr>
        </a:p>
      </dgm:t>
    </dgm:pt>
    <dgm:pt modelId="{6B3177EB-228F-A24A-9ADD-B0A64F295274}" type="parTrans" cxnId="{6A648C85-D529-664C-90FF-C1DB3E697F9F}">
      <dgm:prSet/>
      <dgm:spPr/>
      <dgm:t>
        <a:bodyPr/>
        <a:lstStyle/>
        <a:p>
          <a:endParaRPr lang="en-GB"/>
        </a:p>
      </dgm:t>
    </dgm:pt>
    <dgm:pt modelId="{D3F0CAC9-C00A-204A-9AF7-472B6A519AD7}" type="sibTrans" cxnId="{6A648C85-D529-664C-90FF-C1DB3E697F9F}">
      <dgm:prSet/>
      <dgm:spPr/>
      <dgm:t>
        <a:bodyPr/>
        <a:lstStyle/>
        <a:p>
          <a:endParaRPr lang="en-GB"/>
        </a:p>
      </dgm:t>
    </dgm:pt>
    <dgm:pt modelId="{3FE30BEE-C5EA-114A-B69E-C0E02E423B36}">
      <dgm:prSet phldrT="[Text]"/>
      <dgm:spPr/>
      <dgm:t>
        <a:bodyPr/>
        <a:lstStyle/>
        <a:p>
          <a:r>
            <a:rPr lang="en-GB" dirty="0" err="1"/>
            <a:t>Cáo</a:t>
          </a:r>
          <a:r>
            <a:rPr lang="en-GB" dirty="0"/>
            <a:t> </a:t>
          </a:r>
          <a:r>
            <a:rPr lang="en-GB" dirty="0" err="1"/>
            <a:t>buộc</a:t>
          </a:r>
          <a:r>
            <a:rPr lang="en-GB" dirty="0"/>
            <a:t> </a:t>
          </a:r>
          <a:r>
            <a:rPr lang="en-GB" dirty="0" err="1"/>
            <a:t>cụ</a:t>
          </a:r>
          <a:r>
            <a:rPr lang="en-GB" dirty="0"/>
            <a:t> </a:t>
          </a:r>
          <a:r>
            <a:rPr lang="en-GB" dirty="0" err="1"/>
            <a:t>thể</a:t>
          </a:r>
          <a:r>
            <a:rPr lang="en-GB" dirty="0"/>
            <a:t> </a:t>
          </a:r>
          <a:r>
            <a:rPr lang="en-GB" dirty="0" err="1"/>
            <a:t>được</a:t>
          </a:r>
          <a:r>
            <a:rPr lang="en-GB" dirty="0"/>
            <a:t> </a:t>
          </a:r>
          <a:r>
            <a:rPr lang="en-GB" dirty="0" err="1"/>
            <a:t>thông</a:t>
          </a:r>
          <a:r>
            <a:rPr lang="en-GB" dirty="0"/>
            <a:t> </a:t>
          </a:r>
          <a:r>
            <a:rPr lang="en-GB" dirty="0" err="1"/>
            <a:t>báo</a:t>
          </a:r>
          <a:r>
            <a:rPr lang="en-GB" dirty="0"/>
            <a:t>, </a:t>
          </a:r>
          <a:r>
            <a:rPr lang="en-GB" dirty="0" err="1"/>
            <a:t>thông</a:t>
          </a:r>
          <a:r>
            <a:rPr lang="en-GB" dirty="0"/>
            <a:t> tin </a:t>
          </a:r>
          <a:r>
            <a:rPr lang="en-GB" dirty="0" err="1"/>
            <a:t>rõ</a:t>
          </a:r>
          <a:r>
            <a:rPr lang="en-GB" dirty="0"/>
            <a:t> </a:t>
          </a:r>
          <a:r>
            <a:rPr lang="en-GB" dirty="0" err="1"/>
            <a:t>ràng</a:t>
          </a:r>
          <a:r>
            <a:rPr lang="en-GB" dirty="0"/>
            <a:t> </a:t>
          </a:r>
          <a:r>
            <a:rPr lang="en-GB" dirty="0" err="1"/>
            <a:t>về</a:t>
          </a:r>
          <a:r>
            <a:rPr lang="en-GB" dirty="0"/>
            <a:t> </a:t>
          </a:r>
          <a:r>
            <a:rPr lang="en-GB" dirty="0" err="1"/>
            <a:t>sự</a:t>
          </a:r>
          <a:r>
            <a:rPr lang="en-GB" dirty="0"/>
            <a:t> </a:t>
          </a:r>
          <a:r>
            <a:rPr lang="en-GB" dirty="0" err="1"/>
            <a:t>việc</a:t>
          </a:r>
          <a:r>
            <a:rPr lang="en-GB" dirty="0"/>
            <a:t> </a:t>
          </a:r>
          <a:r>
            <a:rPr lang="en-GB" dirty="0" err="1"/>
            <a:t>đã</a:t>
          </a:r>
          <a:r>
            <a:rPr lang="en-GB" dirty="0"/>
            <a:t> </a:t>
          </a:r>
          <a:r>
            <a:rPr lang="en-GB" dirty="0" err="1"/>
            <a:t>xảy</a:t>
          </a:r>
          <a:r>
            <a:rPr lang="en-GB" dirty="0"/>
            <a:t> ra.</a:t>
          </a:r>
        </a:p>
      </dgm:t>
    </dgm:pt>
    <dgm:pt modelId="{24A101DB-4A06-D349-8572-8B748C41C3A2}" type="parTrans" cxnId="{DD8A9806-FB59-BF4D-A251-9052B61088E9}">
      <dgm:prSet/>
      <dgm:spPr/>
      <dgm:t>
        <a:bodyPr/>
        <a:lstStyle/>
        <a:p>
          <a:endParaRPr lang="en-GB"/>
        </a:p>
      </dgm:t>
    </dgm:pt>
    <dgm:pt modelId="{F67F01B8-9EBC-9946-B31E-A3E1335CB9C0}" type="sibTrans" cxnId="{DD8A9806-FB59-BF4D-A251-9052B61088E9}">
      <dgm:prSet/>
      <dgm:spPr/>
      <dgm:t>
        <a:bodyPr/>
        <a:lstStyle/>
        <a:p>
          <a:endParaRPr lang="en-GB"/>
        </a:p>
      </dgm:t>
    </dgm:pt>
    <dgm:pt modelId="{BCADD88D-BD6D-C14B-AC34-C7B19D8158FD}">
      <dgm:prSet phldrT="[Text]"/>
      <dgm:spPr/>
      <dgm:t>
        <a:bodyPr/>
        <a:lstStyle/>
        <a:p>
          <a:r>
            <a:rPr lang="en-GB" dirty="0" err="1"/>
            <a:t>Bạn</a:t>
          </a:r>
          <a:r>
            <a:rPr lang="en-GB" dirty="0"/>
            <a:t> </a:t>
          </a:r>
          <a:r>
            <a:rPr lang="en-GB" dirty="0" err="1"/>
            <a:t>có</a:t>
          </a:r>
          <a:r>
            <a:rPr lang="en-GB" dirty="0"/>
            <a:t> </a:t>
          </a:r>
          <a:r>
            <a:rPr lang="en-GB" dirty="0" err="1"/>
            <a:t>cảm</a:t>
          </a:r>
          <a:r>
            <a:rPr lang="en-GB" dirty="0"/>
            <a:t> </a:t>
          </a:r>
          <a:r>
            <a:rPr lang="en-GB" dirty="0" err="1"/>
            <a:t>giác</a:t>
          </a:r>
          <a:r>
            <a:rPr lang="en-GB" dirty="0"/>
            <a:t> </a:t>
          </a:r>
          <a:r>
            <a:rPr lang="en-GB" dirty="0" err="1"/>
            <a:t>có</a:t>
          </a:r>
          <a:r>
            <a:rPr lang="en-GB" dirty="0"/>
            <a:t> </a:t>
          </a:r>
          <a:r>
            <a:rPr lang="en-GB" dirty="0" err="1"/>
            <a:t>điều</a:t>
          </a:r>
          <a:r>
            <a:rPr lang="en-GB" dirty="0"/>
            <a:t> </a:t>
          </a:r>
          <a:r>
            <a:rPr lang="en-GB" dirty="0" err="1"/>
            <a:t>gì</a:t>
          </a:r>
          <a:r>
            <a:rPr lang="en-GB" dirty="0"/>
            <a:t> </a:t>
          </a:r>
          <a:r>
            <a:rPr lang="en-GB" dirty="0" err="1"/>
            <a:t>đó</a:t>
          </a:r>
          <a:r>
            <a:rPr lang="en-GB" dirty="0"/>
            <a:t> </a:t>
          </a:r>
          <a:r>
            <a:rPr lang="en-GB" dirty="0" err="1"/>
            <a:t>không</a:t>
          </a:r>
          <a:r>
            <a:rPr lang="en-GB" dirty="0"/>
            <a:t> </a:t>
          </a:r>
          <a:r>
            <a:rPr lang="en-GB" dirty="0" err="1"/>
            <a:t>đúng</a:t>
          </a:r>
          <a:r>
            <a:rPr lang="en-GB" dirty="0"/>
            <a:t>/</a:t>
          </a:r>
          <a:r>
            <a:rPr lang="en-GB" dirty="0" err="1"/>
            <a:t>phù</a:t>
          </a:r>
          <a:r>
            <a:rPr lang="en-GB" dirty="0"/>
            <a:t> </a:t>
          </a:r>
          <a:r>
            <a:rPr lang="en-GB" dirty="0" err="1"/>
            <a:t>hợp</a:t>
          </a:r>
          <a:r>
            <a:rPr lang="en-GB" dirty="0"/>
            <a:t> </a:t>
          </a:r>
          <a:r>
            <a:rPr lang="en-GB" dirty="0" err="1"/>
            <a:t>với</a:t>
          </a:r>
          <a:r>
            <a:rPr lang="en-GB" dirty="0"/>
            <a:t> </a:t>
          </a:r>
          <a:r>
            <a:rPr lang="en-GB" dirty="0" err="1"/>
            <a:t>trẻ</a:t>
          </a:r>
          <a:r>
            <a:rPr lang="en-GB" dirty="0"/>
            <a:t>. </a:t>
          </a:r>
        </a:p>
      </dgm:t>
    </dgm:pt>
    <dgm:pt modelId="{11884F90-A527-E44B-A963-2AB28DE64A8D}" type="parTrans" cxnId="{F995DEDD-70C5-F44D-BEC8-8C25E76F2FB3}">
      <dgm:prSet/>
      <dgm:spPr/>
      <dgm:t>
        <a:bodyPr/>
        <a:lstStyle/>
        <a:p>
          <a:endParaRPr lang="en-GB"/>
        </a:p>
      </dgm:t>
    </dgm:pt>
    <dgm:pt modelId="{A81DA6BE-7FBE-164B-8CAA-E4171FE3EA93}" type="sibTrans" cxnId="{F995DEDD-70C5-F44D-BEC8-8C25E76F2FB3}">
      <dgm:prSet/>
      <dgm:spPr/>
      <dgm:t>
        <a:bodyPr/>
        <a:lstStyle/>
        <a:p>
          <a:endParaRPr lang="en-GB"/>
        </a:p>
      </dgm:t>
    </dgm:pt>
    <dgm:pt modelId="{370FE7CD-B356-8D4D-B30A-9CC7E904845A}">
      <dgm:prSet phldrT="[Text]"/>
      <dgm:spPr/>
      <dgm:t>
        <a:bodyPr/>
        <a:lstStyle/>
        <a:p>
          <a:r>
            <a:rPr lang="en-GB" dirty="0" err="1"/>
            <a:t>Bạn</a:t>
          </a:r>
          <a:r>
            <a:rPr lang="en-GB" dirty="0"/>
            <a:t> lo </a:t>
          </a:r>
          <a:r>
            <a:rPr lang="en-GB" dirty="0" err="1"/>
            <a:t>lắng</a:t>
          </a:r>
          <a:r>
            <a:rPr lang="en-GB" dirty="0"/>
            <a:t> </a:t>
          </a:r>
          <a:r>
            <a:rPr lang="en-GB" dirty="0" err="1"/>
            <a:t>về</a:t>
          </a:r>
          <a:r>
            <a:rPr lang="en-GB" dirty="0"/>
            <a:t> </a:t>
          </a:r>
          <a:r>
            <a:rPr lang="en-GB" dirty="0" err="1"/>
            <a:t>điều</a:t>
          </a:r>
          <a:r>
            <a:rPr lang="en-GB" dirty="0"/>
            <a:t> </a:t>
          </a:r>
          <a:r>
            <a:rPr lang="en-GB" dirty="0" err="1"/>
            <a:t>có</a:t>
          </a:r>
          <a:r>
            <a:rPr lang="en-GB" dirty="0"/>
            <a:t> </a:t>
          </a:r>
          <a:r>
            <a:rPr lang="en-GB" dirty="0" err="1"/>
            <a:t>thể</a:t>
          </a:r>
          <a:r>
            <a:rPr lang="en-GB" dirty="0"/>
            <a:t> </a:t>
          </a:r>
          <a:r>
            <a:rPr lang="en-GB" dirty="0" err="1"/>
            <a:t>sẽ</a:t>
          </a:r>
          <a:r>
            <a:rPr lang="en-GB" dirty="0"/>
            <a:t> </a:t>
          </a:r>
          <a:r>
            <a:rPr lang="en-GB" dirty="0" err="1"/>
            <a:t>xảy</a:t>
          </a:r>
          <a:r>
            <a:rPr lang="en-GB" dirty="0"/>
            <a:t> </a:t>
          </a:r>
          <a:r>
            <a:rPr lang="en-GB" dirty="0" err="1"/>
            <a:t>ra</a:t>
          </a:r>
          <a:r>
            <a:rPr lang="en-GB" dirty="0"/>
            <a:t> </a:t>
          </a:r>
          <a:r>
            <a:rPr lang="en-GB" dirty="0" err="1"/>
            <a:t>với</a:t>
          </a:r>
          <a:r>
            <a:rPr lang="en-GB" dirty="0"/>
            <a:t> </a:t>
          </a:r>
          <a:r>
            <a:rPr lang="en-GB" dirty="0" err="1"/>
            <a:t>trẻ</a:t>
          </a:r>
          <a:r>
            <a:rPr lang="en-GB" dirty="0"/>
            <a:t>.</a:t>
          </a:r>
        </a:p>
      </dgm:t>
    </dgm:pt>
    <dgm:pt modelId="{D88CB088-C957-4649-9324-D396EC9282C8}" type="sibTrans" cxnId="{AD0B45FC-EFD4-6A4D-91DD-14F0237D5FFB}">
      <dgm:prSet/>
      <dgm:spPr/>
      <dgm:t>
        <a:bodyPr/>
        <a:lstStyle/>
        <a:p>
          <a:endParaRPr lang="en-GB"/>
        </a:p>
      </dgm:t>
    </dgm:pt>
    <dgm:pt modelId="{04ECE05E-82BA-EB40-81ED-7FFF3801F938}" type="parTrans" cxnId="{AD0B45FC-EFD4-6A4D-91DD-14F0237D5FFB}">
      <dgm:prSet/>
      <dgm:spPr/>
      <dgm:t>
        <a:bodyPr/>
        <a:lstStyle/>
        <a:p>
          <a:endParaRPr lang="en-GB"/>
        </a:p>
      </dgm:t>
    </dgm:pt>
    <dgm:pt modelId="{48AD6790-F8AF-8C4B-8FEF-D53A19A65B45}">
      <dgm:prSet phldrT="[Text]"/>
      <dgm:spPr/>
      <dgm:t>
        <a:bodyPr/>
        <a:lstStyle/>
        <a:p>
          <a:r>
            <a:rPr lang="en-GB" dirty="0" err="1"/>
            <a:t>Bạn</a:t>
          </a:r>
          <a:r>
            <a:rPr lang="en-GB" dirty="0"/>
            <a:t> lo </a:t>
          </a:r>
          <a:r>
            <a:rPr lang="en-GB" dirty="0" err="1"/>
            <a:t>ngại</a:t>
          </a:r>
          <a:r>
            <a:rPr lang="en-GB" dirty="0"/>
            <a:t> </a:t>
          </a:r>
          <a:r>
            <a:rPr lang="en-GB" dirty="0" err="1"/>
            <a:t>điều</a:t>
          </a:r>
          <a:r>
            <a:rPr lang="en-GB" dirty="0"/>
            <a:t> </a:t>
          </a:r>
          <a:r>
            <a:rPr lang="en-GB" dirty="0" err="1"/>
            <a:t>gì</a:t>
          </a:r>
          <a:r>
            <a:rPr lang="en-GB" dirty="0"/>
            <a:t> </a:t>
          </a:r>
          <a:r>
            <a:rPr lang="en-GB" dirty="0" err="1"/>
            <a:t>đó</a:t>
          </a:r>
          <a:r>
            <a:rPr lang="en-GB" dirty="0"/>
            <a:t> </a:t>
          </a:r>
          <a:r>
            <a:rPr lang="en-GB" dirty="0" err="1"/>
            <a:t>có</a:t>
          </a:r>
          <a:r>
            <a:rPr lang="en-GB" dirty="0"/>
            <a:t> </a:t>
          </a:r>
          <a:r>
            <a:rPr lang="en-GB" dirty="0" err="1"/>
            <a:t>thể</a:t>
          </a:r>
          <a:r>
            <a:rPr lang="en-GB" dirty="0"/>
            <a:t> </a:t>
          </a:r>
          <a:r>
            <a:rPr lang="en-GB" dirty="0" err="1"/>
            <a:t>xảy</a:t>
          </a:r>
          <a:r>
            <a:rPr lang="en-GB" dirty="0"/>
            <a:t> </a:t>
          </a:r>
          <a:r>
            <a:rPr lang="en-GB" dirty="0" err="1"/>
            <a:t>ra</a:t>
          </a:r>
          <a:r>
            <a:rPr lang="en-GB" dirty="0"/>
            <a:t> </a:t>
          </a:r>
          <a:r>
            <a:rPr lang="en-GB" dirty="0" err="1"/>
            <a:t>với</a:t>
          </a:r>
          <a:r>
            <a:rPr lang="en-GB" dirty="0"/>
            <a:t> </a:t>
          </a:r>
          <a:r>
            <a:rPr lang="en-GB" dirty="0" err="1"/>
            <a:t>trẻ</a:t>
          </a:r>
          <a:r>
            <a:rPr lang="en-GB" dirty="0"/>
            <a:t> </a:t>
          </a:r>
          <a:r>
            <a:rPr lang="en-GB" dirty="0" err="1"/>
            <a:t>trong</a:t>
          </a:r>
          <a:r>
            <a:rPr lang="en-GB" dirty="0"/>
            <a:t> </a:t>
          </a:r>
          <a:r>
            <a:rPr lang="en-GB" dirty="0" err="1"/>
            <a:t>tương</a:t>
          </a:r>
          <a:r>
            <a:rPr lang="en-GB" dirty="0"/>
            <a:t> </a:t>
          </a:r>
          <a:r>
            <a:rPr lang="en-GB" dirty="0" err="1"/>
            <a:t>lai</a:t>
          </a:r>
          <a:r>
            <a:rPr lang="en-GB" dirty="0"/>
            <a:t>.</a:t>
          </a:r>
        </a:p>
      </dgm:t>
    </dgm:pt>
    <dgm:pt modelId="{1F7CD191-4B1A-F248-9CC0-31325ED8391B}" type="sibTrans" cxnId="{2E6368B7-723A-994B-8242-34897F4B138F}">
      <dgm:prSet/>
      <dgm:spPr/>
      <dgm:t>
        <a:bodyPr/>
        <a:lstStyle/>
        <a:p>
          <a:endParaRPr lang="en-GB"/>
        </a:p>
      </dgm:t>
    </dgm:pt>
    <dgm:pt modelId="{6832EE9C-2768-FF47-ABDB-08C58FB060F8}" type="parTrans" cxnId="{2E6368B7-723A-994B-8242-34897F4B138F}">
      <dgm:prSet/>
      <dgm:spPr/>
      <dgm:t>
        <a:bodyPr/>
        <a:lstStyle/>
        <a:p>
          <a:endParaRPr lang="en-GB"/>
        </a:p>
      </dgm:t>
    </dgm:pt>
    <dgm:pt modelId="{A0741504-A45B-F144-9505-275047C6155C}">
      <dgm:prSet phldrT="[Text]"/>
      <dgm:spPr/>
      <dgm:t>
        <a:bodyPr/>
        <a:lstStyle/>
        <a:p>
          <a:r>
            <a:rPr lang="en-GB" dirty="0" err="1"/>
            <a:t>Ví</a:t>
          </a:r>
          <a:r>
            <a:rPr lang="en-GB" dirty="0"/>
            <a:t> </a:t>
          </a:r>
          <a:r>
            <a:rPr lang="en-GB" dirty="0" err="1"/>
            <a:t>dụ</a:t>
          </a:r>
          <a:r>
            <a:rPr lang="en-GB" dirty="0"/>
            <a:t>, </a:t>
          </a:r>
          <a:r>
            <a:rPr lang="en-GB" dirty="0" err="1"/>
            <a:t>Trẻ</a:t>
          </a:r>
          <a:r>
            <a:rPr lang="en-GB" dirty="0"/>
            <a:t> </a:t>
          </a:r>
          <a:r>
            <a:rPr lang="en-GB" dirty="0" err="1"/>
            <a:t>có</a:t>
          </a:r>
          <a:r>
            <a:rPr lang="en-GB" dirty="0"/>
            <a:t> </a:t>
          </a:r>
          <a:r>
            <a:rPr lang="en-GB" dirty="0" err="1"/>
            <a:t>vẻ</a:t>
          </a:r>
          <a:r>
            <a:rPr lang="en-GB" dirty="0"/>
            <a:t> </a:t>
          </a:r>
          <a:r>
            <a:rPr lang="en-GB" dirty="0" err="1"/>
            <a:t>sợ</a:t>
          </a:r>
          <a:r>
            <a:rPr lang="en-GB" dirty="0"/>
            <a:t> </a:t>
          </a:r>
          <a:r>
            <a:rPr lang="en-GB" dirty="0" err="1"/>
            <a:t>người</a:t>
          </a:r>
          <a:r>
            <a:rPr lang="en-GB" dirty="0"/>
            <a:t> </a:t>
          </a:r>
          <a:r>
            <a:rPr lang="en-GB" dirty="0" err="1"/>
            <a:t>lớn</a:t>
          </a:r>
          <a:r>
            <a:rPr lang="en-GB" dirty="0"/>
            <a:t>.</a:t>
          </a:r>
        </a:p>
      </dgm:t>
    </dgm:pt>
    <dgm:pt modelId="{39F4C49A-1DFE-4048-8999-93B54EF33A82}" type="parTrans" cxnId="{EDB44E8E-CE0C-1F40-B9F7-C469BF382978}">
      <dgm:prSet/>
      <dgm:spPr/>
      <dgm:t>
        <a:bodyPr/>
        <a:lstStyle/>
        <a:p>
          <a:endParaRPr lang="en-US"/>
        </a:p>
      </dgm:t>
    </dgm:pt>
    <dgm:pt modelId="{B8256D86-55E3-1149-B61D-4C22E9EEC021}" type="sibTrans" cxnId="{EDB44E8E-CE0C-1F40-B9F7-C469BF382978}">
      <dgm:prSet/>
      <dgm:spPr/>
      <dgm:t>
        <a:bodyPr/>
        <a:lstStyle/>
        <a:p>
          <a:endParaRPr lang="en-US"/>
        </a:p>
      </dgm:t>
    </dgm:pt>
    <dgm:pt modelId="{E7ABE818-EC20-114C-A995-E87FFBBF7622}">
      <dgm:prSet phldrT="[Text]"/>
      <dgm:spPr/>
      <dgm:t>
        <a:bodyPr/>
        <a:lstStyle/>
        <a:p>
          <a:r>
            <a:rPr lang="en-GB" dirty="0" err="1"/>
            <a:t>Cáo</a:t>
          </a:r>
          <a:r>
            <a:rPr lang="en-GB" dirty="0"/>
            <a:t> </a:t>
          </a:r>
          <a:r>
            <a:rPr lang="en-GB" dirty="0" err="1"/>
            <a:t>buộc</a:t>
          </a:r>
          <a:r>
            <a:rPr lang="en-GB" dirty="0"/>
            <a:t> </a:t>
          </a:r>
          <a:r>
            <a:rPr lang="en-GB" dirty="0" err="1"/>
            <a:t>này</a:t>
          </a:r>
          <a:r>
            <a:rPr lang="en-GB" dirty="0"/>
            <a:t> </a:t>
          </a:r>
          <a:r>
            <a:rPr lang="en-GB" dirty="0" err="1"/>
            <a:t>phải</a:t>
          </a:r>
          <a:r>
            <a:rPr lang="en-GB" dirty="0"/>
            <a:t> </a:t>
          </a:r>
          <a:r>
            <a:rPr lang="en-GB" dirty="0" err="1"/>
            <a:t>được</a:t>
          </a:r>
          <a:r>
            <a:rPr lang="en-GB" dirty="0"/>
            <a:t> </a:t>
          </a:r>
          <a:r>
            <a:rPr lang="en-GB" dirty="0" err="1"/>
            <a:t>xem</a:t>
          </a:r>
          <a:r>
            <a:rPr lang="en-GB" dirty="0"/>
            <a:t> </a:t>
          </a:r>
          <a:r>
            <a:rPr lang="en-GB" dirty="0" err="1"/>
            <a:t>xét</a:t>
          </a:r>
          <a:r>
            <a:rPr lang="en-GB" dirty="0"/>
            <a:t> </a:t>
          </a:r>
          <a:r>
            <a:rPr lang="en-GB" dirty="0" err="1"/>
            <a:t>là</a:t>
          </a:r>
          <a:r>
            <a:rPr lang="en-GB" dirty="0"/>
            <a:t> </a:t>
          </a:r>
          <a:r>
            <a:rPr lang="en-GB" dirty="0" err="1"/>
            <a:t>đúng</a:t>
          </a:r>
          <a:r>
            <a:rPr lang="en-GB" dirty="0"/>
            <a:t>, </a:t>
          </a:r>
          <a:r>
            <a:rPr lang="en-GB" dirty="0" err="1"/>
            <a:t>cho</a:t>
          </a:r>
          <a:r>
            <a:rPr lang="en-GB" dirty="0"/>
            <a:t> </a:t>
          </a:r>
          <a:r>
            <a:rPr lang="en-GB" dirty="0" err="1"/>
            <a:t>tới</a:t>
          </a:r>
          <a:r>
            <a:rPr lang="en-GB" dirty="0"/>
            <a:t> </a:t>
          </a:r>
          <a:r>
            <a:rPr lang="en-GB" dirty="0" err="1"/>
            <a:t>khi</a:t>
          </a:r>
          <a:r>
            <a:rPr lang="en-GB" dirty="0"/>
            <a:t> </a:t>
          </a:r>
          <a:r>
            <a:rPr lang="en-GB" dirty="0" err="1"/>
            <a:t>chứng</a:t>
          </a:r>
          <a:r>
            <a:rPr lang="en-GB" dirty="0"/>
            <a:t> </a:t>
          </a:r>
          <a:r>
            <a:rPr lang="en-GB" dirty="0" err="1"/>
            <a:t>minh</a:t>
          </a:r>
          <a:r>
            <a:rPr lang="en-GB" dirty="0"/>
            <a:t> </a:t>
          </a:r>
          <a:r>
            <a:rPr lang="en-GB" dirty="0" err="1"/>
            <a:t>được</a:t>
          </a:r>
          <a:r>
            <a:rPr lang="en-GB" dirty="0"/>
            <a:t> </a:t>
          </a:r>
          <a:r>
            <a:rPr lang="en-GB" dirty="0" err="1"/>
            <a:t>là</a:t>
          </a:r>
          <a:r>
            <a:rPr lang="en-GB" dirty="0"/>
            <a:t> </a:t>
          </a:r>
          <a:r>
            <a:rPr lang="en-GB" dirty="0" err="1"/>
            <a:t>sai</a:t>
          </a:r>
          <a:r>
            <a:rPr lang="en-GB" dirty="0"/>
            <a:t> [</a:t>
          </a:r>
          <a:r>
            <a:rPr lang="en-GB" dirty="0" err="1"/>
            <a:t>Tiền</a:t>
          </a:r>
          <a:r>
            <a:rPr lang="en-GB" dirty="0"/>
            <a:t> </a:t>
          </a:r>
          <a:r>
            <a:rPr lang="en-GB" dirty="0" err="1"/>
            <a:t>đề</a:t>
          </a:r>
          <a:r>
            <a:rPr lang="en-GB" dirty="0"/>
            <a:t> </a:t>
          </a:r>
          <a:r>
            <a:rPr lang="en-GB" dirty="0" err="1"/>
            <a:t>quan</a:t>
          </a:r>
          <a:r>
            <a:rPr lang="en-GB" dirty="0"/>
            <a:t> </a:t>
          </a:r>
          <a:r>
            <a:rPr lang="en-GB" dirty="0" err="1"/>
            <a:t>trọng</a:t>
          </a:r>
          <a:r>
            <a:rPr lang="en-GB" dirty="0"/>
            <a:t> </a:t>
          </a:r>
          <a:r>
            <a:rPr lang="en-GB" dirty="0" err="1"/>
            <a:t>của</a:t>
          </a:r>
          <a:r>
            <a:rPr lang="en-GB" dirty="0"/>
            <a:t> </a:t>
          </a:r>
          <a:r>
            <a:rPr lang="en-GB" dirty="0" err="1"/>
            <a:t>thực</a:t>
          </a:r>
          <a:r>
            <a:rPr lang="en-GB" dirty="0"/>
            <a:t> </a:t>
          </a:r>
          <a:r>
            <a:rPr lang="en-GB" dirty="0" err="1"/>
            <a:t>hành</a:t>
          </a:r>
          <a:r>
            <a:rPr lang="en-GB" dirty="0"/>
            <a:t> BVTE]</a:t>
          </a:r>
        </a:p>
      </dgm:t>
    </dgm:pt>
    <dgm:pt modelId="{73CB9A14-D943-0B43-B208-36E4B8670D3A}" type="parTrans" cxnId="{B49E2D43-A93C-BB40-AA03-2794A707FE9E}">
      <dgm:prSet/>
      <dgm:spPr/>
      <dgm:t>
        <a:bodyPr/>
        <a:lstStyle/>
        <a:p>
          <a:endParaRPr lang="en-US"/>
        </a:p>
      </dgm:t>
    </dgm:pt>
    <dgm:pt modelId="{A1749880-1A39-494B-B153-B4EE3FDF666B}" type="sibTrans" cxnId="{B49E2D43-A93C-BB40-AA03-2794A707FE9E}">
      <dgm:prSet/>
      <dgm:spPr/>
      <dgm:t>
        <a:bodyPr/>
        <a:lstStyle/>
        <a:p>
          <a:endParaRPr lang="en-US"/>
        </a:p>
      </dgm:t>
    </dgm:pt>
    <dgm:pt modelId="{D36BD05D-713D-2D43-8028-6B074D0CE2C2}">
      <dgm:prSet phldrT="[Text]"/>
      <dgm:spPr/>
      <dgm:t>
        <a:bodyPr/>
        <a:lstStyle/>
        <a:p>
          <a:r>
            <a:rPr lang="en-GB" dirty="0" err="1"/>
            <a:t>Ví</a:t>
          </a:r>
          <a:r>
            <a:rPr lang="en-GB" dirty="0"/>
            <a:t> </a:t>
          </a:r>
          <a:r>
            <a:rPr lang="en-GB" dirty="0" err="1"/>
            <a:t>dụ</a:t>
          </a:r>
          <a:r>
            <a:rPr lang="en-GB" dirty="0"/>
            <a:t>: </a:t>
          </a:r>
          <a:r>
            <a:rPr lang="en-GB" dirty="0" err="1"/>
            <a:t>Trẻ</a:t>
          </a:r>
          <a:r>
            <a:rPr lang="en-GB" dirty="0"/>
            <a:t> </a:t>
          </a:r>
          <a:r>
            <a:rPr lang="en-GB" dirty="0" err="1"/>
            <a:t>nói</a:t>
          </a:r>
          <a:r>
            <a:rPr lang="en-GB" dirty="0"/>
            <a:t> </a:t>
          </a:r>
          <a:r>
            <a:rPr lang="en-GB" dirty="0" err="1"/>
            <a:t>rằng</a:t>
          </a:r>
          <a:r>
            <a:rPr lang="en-GB" dirty="0"/>
            <a:t> </a:t>
          </a:r>
          <a:r>
            <a:rPr lang="en-GB" dirty="0" err="1"/>
            <a:t>bị</a:t>
          </a:r>
          <a:r>
            <a:rPr lang="en-GB" dirty="0"/>
            <a:t> </a:t>
          </a:r>
          <a:r>
            <a:rPr lang="en-GB" dirty="0" err="1"/>
            <a:t>bố</a:t>
          </a:r>
          <a:r>
            <a:rPr lang="en-GB" dirty="0"/>
            <a:t> </a:t>
          </a:r>
          <a:r>
            <a:rPr lang="en-GB" dirty="0" err="1"/>
            <a:t>đánh</a:t>
          </a:r>
          <a:r>
            <a:rPr lang="en-GB" dirty="0"/>
            <a:t> </a:t>
          </a:r>
          <a:r>
            <a:rPr lang="en-GB" dirty="0" err="1"/>
            <a:t>vào</a:t>
          </a:r>
          <a:r>
            <a:rPr lang="en-GB" dirty="0"/>
            <a:t> </a:t>
          </a:r>
          <a:r>
            <a:rPr lang="en-GB" dirty="0" err="1"/>
            <a:t>mặt</a:t>
          </a:r>
          <a:r>
            <a:rPr lang="en-GB" dirty="0"/>
            <a:t> </a:t>
          </a:r>
          <a:r>
            <a:rPr lang="en-GB" dirty="0" err="1"/>
            <a:t>bởi</a:t>
          </a:r>
          <a:r>
            <a:rPr lang="en-GB" dirty="0"/>
            <a:t> </a:t>
          </a:r>
          <a:r>
            <a:rPr lang="en-GB" dirty="0" err="1"/>
            <a:t>vì</a:t>
          </a:r>
          <a:r>
            <a:rPr lang="en-GB" dirty="0"/>
            <a:t> </a:t>
          </a:r>
          <a:r>
            <a:rPr lang="en-GB" dirty="0" err="1"/>
            <a:t>đã</a:t>
          </a:r>
          <a:r>
            <a:rPr lang="en-GB" dirty="0"/>
            <a:t> </a:t>
          </a:r>
          <a:r>
            <a:rPr lang="en-GB" dirty="0" err="1"/>
            <a:t>không</a:t>
          </a:r>
          <a:r>
            <a:rPr lang="en-GB" dirty="0"/>
            <a:t> </a:t>
          </a:r>
          <a:r>
            <a:rPr lang="en-GB" dirty="0" err="1"/>
            <a:t>làm</a:t>
          </a:r>
          <a:r>
            <a:rPr lang="en-GB" dirty="0"/>
            <a:t> </a:t>
          </a:r>
          <a:r>
            <a:rPr lang="en-GB" dirty="0" err="1"/>
            <a:t>tốt</a:t>
          </a:r>
          <a:r>
            <a:rPr lang="en-GB" dirty="0"/>
            <a:t> </a:t>
          </a:r>
          <a:r>
            <a:rPr lang="en-GB" dirty="0" err="1"/>
            <a:t>bài</a:t>
          </a:r>
          <a:r>
            <a:rPr lang="en-GB" dirty="0"/>
            <a:t> </a:t>
          </a:r>
          <a:r>
            <a:rPr lang="en-GB" dirty="0" err="1"/>
            <a:t>kiểm</a:t>
          </a:r>
          <a:r>
            <a:rPr lang="en-GB" dirty="0"/>
            <a:t> </a:t>
          </a:r>
          <a:r>
            <a:rPr lang="en-GB" dirty="0" err="1"/>
            <a:t>tra</a:t>
          </a:r>
          <a:r>
            <a:rPr lang="en-GB" dirty="0"/>
            <a:t> </a:t>
          </a:r>
          <a:r>
            <a:rPr lang="en-GB" dirty="0" err="1"/>
            <a:t>ở</a:t>
          </a:r>
          <a:r>
            <a:rPr lang="en-GB" dirty="0"/>
            <a:t> </a:t>
          </a:r>
          <a:r>
            <a:rPr lang="en-GB" dirty="0" err="1"/>
            <a:t>trường</a:t>
          </a:r>
          <a:r>
            <a:rPr lang="en-GB" dirty="0"/>
            <a:t>.</a:t>
          </a:r>
        </a:p>
      </dgm:t>
    </dgm:pt>
    <dgm:pt modelId="{2B5267E4-40B4-A147-8737-9A2EB4428148}" type="parTrans" cxnId="{BA3F3727-67F1-F14A-AADE-B2BB8401B07F}">
      <dgm:prSet/>
      <dgm:spPr/>
      <dgm:t>
        <a:bodyPr/>
        <a:lstStyle/>
        <a:p>
          <a:endParaRPr lang="en-US"/>
        </a:p>
      </dgm:t>
    </dgm:pt>
    <dgm:pt modelId="{C2F50567-396F-1149-8A96-F5ABD6A76EDB}" type="sibTrans" cxnId="{BA3F3727-67F1-F14A-AADE-B2BB8401B07F}">
      <dgm:prSet/>
      <dgm:spPr/>
      <dgm:t>
        <a:bodyPr/>
        <a:lstStyle/>
        <a:p>
          <a:endParaRPr lang="en-US"/>
        </a:p>
      </dgm:t>
    </dgm:pt>
    <dgm:pt modelId="{E8959C3D-4EC6-1943-A1A1-AC9455545B1F}" type="pres">
      <dgm:prSet presAssocID="{16211FD5-E323-8E48-80AD-46DA8A0CBAA1}" presName="Name0" presStyleCnt="0">
        <dgm:presLayoutVars>
          <dgm:dir/>
          <dgm:animLvl val="lvl"/>
          <dgm:resizeHandles/>
        </dgm:presLayoutVars>
      </dgm:prSet>
      <dgm:spPr/>
    </dgm:pt>
    <dgm:pt modelId="{4843033A-075B-7A4D-8D3B-48170E7045BF}" type="pres">
      <dgm:prSet presAssocID="{E0980767-06B1-314E-BADD-E06E329D7BCD}" presName="linNode" presStyleCnt="0"/>
      <dgm:spPr/>
    </dgm:pt>
    <dgm:pt modelId="{2BEB92FD-4189-FB42-A067-A23B6419886E}" type="pres">
      <dgm:prSet presAssocID="{E0980767-06B1-314E-BADD-E06E329D7BCD}" presName="parentShp" presStyleLbl="node1" presStyleIdx="0" presStyleCnt="2">
        <dgm:presLayoutVars>
          <dgm:bulletEnabled val="1"/>
        </dgm:presLayoutVars>
      </dgm:prSet>
      <dgm:spPr/>
    </dgm:pt>
    <dgm:pt modelId="{C5ECB044-682A-FD4B-BEB5-1242AE959B4F}" type="pres">
      <dgm:prSet presAssocID="{E0980767-06B1-314E-BADD-E06E329D7BCD}" presName="childShp" presStyleLbl="bgAccFollowNode1" presStyleIdx="0" presStyleCnt="2">
        <dgm:presLayoutVars>
          <dgm:bulletEnabled val="1"/>
        </dgm:presLayoutVars>
      </dgm:prSet>
      <dgm:spPr/>
    </dgm:pt>
    <dgm:pt modelId="{F6262537-BB39-E34D-8696-9182E091DC61}" type="pres">
      <dgm:prSet presAssocID="{C01414DA-6E8E-6A43-8288-F514E0D2974B}" presName="spacing" presStyleCnt="0"/>
      <dgm:spPr/>
    </dgm:pt>
    <dgm:pt modelId="{3F16E486-B910-C742-A9AE-C289315BB451}" type="pres">
      <dgm:prSet presAssocID="{CBE179E4-08AF-0F4A-9936-7C808C5C7BF6}" presName="linNode" presStyleCnt="0"/>
      <dgm:spPr/>
    </dgm:pt>
    <dgm:pt modelId="{E8A81A9E-C364-D346-9FDC-7BBC54820AE8}" type="pres">
      <dgm:prSet presAssocID="{CBE179E4-08AF-0F4A-9936-7C808C5C7BF6}" presName="parentShp" presStyleLbl="node1" presStyleIdx="1" presStyleCnt="2">
        <dgm:presLayoutVars>
          <dgm:bulletEnabled val="1"/>
        </dgm:presLayoutVars>
      </dgm:prSet>
      <dgm:spPr/>
    </dgm:pt>
    <dgm:pt modelId="{9014FE81-16E4-E842-AF0E-8C5EC1F6B6CC}" type="pres">
      <dgm:prSet presAssocID="{CBE179E4-08AF-0F4A-9936-7C808C5C7BF6}" presName="childShp" presStyleLbl="bgAccFollowNode1" presStyleIdx="1" presStyleCnt="2">
        <dgm:presLayoutVars>
          <dgm:bulletEnabled val="1"/>
        </dgm:presLayoutVars>
      </dgm:prSet>
      <dgm:spPr/>
    </dgm:pt>
  </dgm:ptLst>
  <dgm:cxnLst>
    <dgm:cxn modelId="{DD8A9806-FB59-BF4D-A251-9052B61088E9}" srcId="{CBE179E4-08AF-0F4A-9936-7C808C5C7BF6}" destId="{3FE30BEE-C5EA-114A-B69E-C0E02E423B36}" srcOrd="0" destOrd="0" parTransId="{24A101DB-4A06-D349-8572-8B748C41C3A2}" sibTransId="{F67F01B8-9EBC-9946-B31E-A3E1335CB9C0}"/>
    <dgm:cxn modelId="{BA3F3727-67F1-F14A-AADE-B2BB8401B07F}" srcId="{CBE179E4-08AF-0F4A-9936-7C808C5C7BF6}" destId="{D36BD05D-713D-2D43-8028-6B074D0CE2C2}" srcOrd="2" destOrd="0" parTransId="{2B5267E4-40B4-A147-8737-9A2EB4428148}" sibTransId="{C2F50567-396F-1149-8A96-F5ABD6A76EDB}"/>
    <dgm:cxn modelId="{993C3635-C634-5B4E-B725-A224C709E9A2}" type="presOf" srcId="{E7ABE818-EC20-114C-A995-E87FFBBF7622}" destId="{9014FE81-16E4-E842-AF0E-8C5EC1F6B6CC}" srcOrd="0" destOrd="1" presId="urn:microsoft.com/office/officeart/2005/8/layout/vList6"/>
    <dgm:cxn modelId="{E6A3043D-452D-3742-AD3D-C5CFC5BFDC43}" type="presOf" srcId="{D0644AD9-818B-EF4E-A150-E265FAEB8208}" destId="{C5ECB044-682A-FD4B-BEB5-1242AE959B4F}" srcOrd="0" destOrd="0" presId="urn:microsoft.com/office/officeart/2005/8/layout/vList6"/>
    <dgm:cxn modelId="{B49E2D43-A93C-BB40-AA03-2794A707FE9E}" srcId="{CBE179E4-08AF-0F4A-9936-7C808C5C7BF6}" destId="{E7ABE818-EC20-114C-A995-E87FFBBF7622}" srcOrd="1" destOrd="0" parTransId="{73CB9A14-D943-0B43-B208-36E4B8670D3A}" sibTransId="{A1749880-1A39-494B-B153-B4EE3FDF666B}"/>
    <dgm:cxn modelId="{DC4B9949-E776-DB48-AA02-38F5932C4256}" srcId="{E0980767-06B1-314E-BADD-E06E329D7BCD}" destId="{D0644AD9-818B-EF4E-A150-E265FAEB8208}" srcOrd="0" destOrd="0" parTransId="{D4F094DE-D876-6C44-B00A-9BE8C64601EF}" sibTransId="{84D0F4EE-F07C-874E-84D7-B63275263877}"/>
    <dgm:cxn modelId="{DDECBD6E-1BEC-474C-9E5D-0CDB191DA5B7}" srcId="{16211FD5-E323-8E48-80AD-46DA8A0CBAA1}" destId="{E0980767-06B1-314E-BADD-E06E329D7BCD}" srcOrd="0" destOrd="0" parTransId="{F4640BAA-B33F-214F-B79C-8D44BBCAA04E}" sibTransId="{C01414DA-6E8E-6A43-8288-F514E0D2974B}"/>
    <dgm:cxn modelId="{32888A6F-3DF0-0C4D-ABE2-E2008ECA8E0A}" type="presOf" srcId="{3FE30BEE-C5EA-114A-B69E-C0E02E423B36}" destId="{9014FE81-16E4-E842-AF0E-8C5EC1F6B6CC}" srcOrd="0" destOrd="0" presId="urn:microsoft.com/office/officeart/2005/8/layout/vList6"/>
    <dgm:cxn modelId="{8A16DE84-DCC4-8247-BC42-FEC585BACD9E}" type="presOf" srcId="{BCADD88D-BD6D-C14B-AC34-C7B19D8158FD}" destId="{C5ECB044-682A-FD4B-BEB5-1242AE959B4F}" srcOrd="0" destOrd="1" presId="urn:microsoft.com/office/officeart/2005/8/layout/vList6"/>
    <dgm:cxn modelId="{6A648C85-D529-664C-90FF-C1DB3E697F9F}" srcId="{16211FD5-E323-8E48-80AD-46DA8A0CBAA1}" destId="{CBE179E4-08AF-0F4A-9936-7C808C5C7BF6}" srcOrd="1" destOrd="0" parTransId="{6B3177EB-228F-A24A-9ADD-B0A64F295274}" sibTransId="{D3F0CAC9-C00A-204A-9AF7-472B6A519AD7}"/>
    <dgm:cxn modelId="{EDB44E8E-CE0C-1F40-B9F7-C469BF382978}" srcId="{48AD6790-F8AF-8C4B-8FEF-D53A19A65B45}" destId="{A0741504-A45B-F144-9505-275047C6155C}" srcOrd="0" destOrd="0" parTransId="{39F4C49A-1DFE-4048-8999-93B54EF33A82}" sibTransId="{B8256D86-55E3-1149-B61D-4C22E9EEC021}"/>
    <dgm:cxn modelId="{32A24EA7-492A-BF4E-B66B-6477430F91B3}" type="presOf" srcId="{16211FD5-E323-8E48-80AD-46DA8A0CBAA1}" destId="{E8959C3D-4EC6-1943-A1A1-AC9455545B1F}" srcOrd="0" destOrd="0" presId="urn:microsoft.com/office/officeart/2005/8/layout/vList6"/>
    <dgm:cxn modelId="{2F0BDAA9-B2D8-C54F-93C7-8C9D7CBB5168}" type="presOf" srcId="{E0980767-06B1-314E-BADD-E06E329D7BCD}" destId="{2BEB92FD-4189-FB42-A067-A23B6419886E}" srcOrd="0" destOrd="0" presId="urn:microsoft.com/office/officeart/2005/8/layout/vList6"/>
    <dgm:cxn modelId="{B0C224B1-6907-D24D-B590-B51B1469AFCC}" type="presOf" srcId="{370FE7CD-B356-8D4D-B30A-9CC7E904845A}" destId="{C5ECB044-682A-FD4B-BEB5-1242AE959B4F}" srcOrd="0" destOrd="2" presId="urn:microsoft.com/office/officeart/2005/8/layout/vList6"/>
    <dgm:cxn modelId="{2E6368B7-723A-994B-8242-34897F4B138F}" srcId="{D0644AD9-818B-EF4E-A150-E265FAEB8208}" destId="{48AD6790-F8AF-8C4B-8FEF-D53A19A65B45}" srcOrd="2" destOrd="0" parTransId="{6832EE9C-2768-FF47-ABDB-08C58FB060F8}" sibTransId="{1F7CD191-4B1A-F248-9CC0-31325ED8391B}"/>
    <dgm:cxn modelId="{651061B9-2AB1-9345-B264-A7ADC3A19F16}" type="presOf" srcId="{D36BD05D-713D-2D43-8028-6B074D0CE2C2}" destId="{9014FE81-16E4-E842-AF0E-8C5EC1F6B6CC}" srcOrd="0" destOrd="2" presId="urn:microsoft.com/office/officeart/2005/8/layout/vList6"/>
    <dgm:cxn modelId="{6AAEC1BD-8C2D-584F-AC4F-850DEEA7B3AD}" type="presOf" srcId="{48AD6790-F8AF-8C4B-8FEF-D53A19A65B45}" destId="{C5ECB044-682A-FD4B-BEB5-1242AE959B4F}" srcOrd="0" destOrd="3" presId="urn:microsoft.com/office/officeart/2005/8/layout/vList6"/>
    <dgm:cxn modelId="{F93D5AD1-81FF-BC45-A4A9-EEEEBADDB267}" type="presOf" srcId="{CBE179E4-08AF-0F4A-9936-7C808C5C7BF6}" destId="{E8A81A9E-C364-D346-9FDC-7BBC54820AE8}" srcOrd="0" destOrd="0" presId="urn:microsoft.com/office/officeart/2005/8/layout/vList6"/>
    <dgm:cxn modelId="{9CB342D8-2B86-5A4C-A6AF-84B1AB21F7A1}" type="presOf" srcId="{A0741504-A45B-F144-9505-275047C6155C}" destId="{C5ECB044-682A-FD4B-BEB5-1242AE959B4F}" srcOrd="0" destOrd="4" presId="urn:microsoft.com/office/officeart/2005/8/layout/vList6"/>
    <dgm:cxn modelId="{F995DEDD-70C5-F44D-BEC8-8C25E76F2FB3}" srcId="{D0644AD9-818B-EF4E-A150-E265FAEB8208}" destId="{BCADD88D-BD6D-C14B-AC34-C7B19D8158FD}" srcOrd="0" destOrd="0" parTransId="{11884F90-A527-E44B-A963-2AB28DE64A8D}" sibTransId="{A81DA6BE-7FBE-164B-8CAA-E4171FE3EA93}"/>
    <dgm:cxn modelId="{AD0B45FC-EFD4-6A4D-91DD-14F0237D5FFB}" srcId="{D0644AD9-818B-EF4E-A150-E265FAEB8208}" destId="{370FE7CD-B356-8D4D-B30A-9CC7E904845A}" srcOrd="1" destOrd="0" parTransId="{04ECE05E-82BA-EB40-81ED-7FFF3801F938}" sibTransId="{D88CB088-C957-4649-9324-D396EC9282C8}"/>
    <dgm:cxn modelId="{476DECEE-B6AE-AA4F-BC19-B391D708E013}" type="presParOf" srcId="{E8959C3D-4EC6-1943-A1A1-AC9455545B1F}" destId="{4843033A-075B-7A4D-8D3B-48170E7045BF}" srcOrd="0" destOrd="0" presId="urn:microsoft.com/office/officeart/2005/8/layout/vList6"/>
    <dgm:cxn modelId="{13A7839E-FBF7-514F-A86B-E843D9DE0198}" type="presParOf" srcId="{4843033A-075B-7A4D-8D3B-48170E7045BF}" destId="{2BEB92FD-4189-FB42-A067-A23B6419886E}" srcOrd="0" destOrd="0" presId="urn:microsoft.com/office/officeart/2005/8/layout/vList6"/>
    <dgm:cxn modelId="{7E1605E1-2AF8-544C-990D-2F6FA41AC0EB}" type="presParOf" srcId="{4843033A-075B-7A4D-8D3B-48170E7045BF}" destId="{C5ECB044-682A-FD4B-BEB5-1242AE959B4F}" srcOrd="1" destOrd="0" presId="urn:microsoft.com/office/officeart/2005/8/layout/vList6"/>
    <dgm:cxn modelId="{B382B5A6-B136-5F4E-9FE5-A15BD5D9C38C}" type="presParOf" srcId="{E8959C3D-4EC6-1943-A1A1-AC9455545B1F}" destId="{F6262537-BB39-E34D-8696-9182E091DC61}" srcOrd="1" destOrd="0" presId="urn:microsoft.com/office/officeart/2005/8/layout/vList6"/>
    <dgm:cxn modelId="{4335C31B-99DA-AE4A-808F-2D9DA51D794A}" type="presParOf" srcId="{E8959C3D-4EC6-1943-A1A1-AC9455545B1F}" destId="{3F16E486-B910-C742-A9AE-C289315BB451}" srcOrd="2" destOrd="0" presId="urn:microsoft.com/office/officeart/2005/8/layout/vList6"/>
    <dgm:cxn modelId="{FFD1EFFC-40D4-DF4B-8512-AB9305102C60}" type="presParOf" srcId="{3F16E486-B910-C742-A9AE-C289315BB451}" destId="{E8A81A9E-C364-D346-9FDC-7BBC54820AE8}" srcOrd="0" destOrd="0" presId="urn:microsoft.com/office/officeart/2005/8/layout/vList6"/>
    <dgm:cxn modelId="{0766716B-C90F-5D45-94BF-0F0E5898F226}" type="presParOf" srcId="{3F16E486-B910-C742-A9AE-C289315BB451}" destId="{9014FE81-16E4-E842-AF0E-8C5EC1F6B6CC}" srcOrd="1" destOrd="0" presId="urn:microsoft.com/office/officeart/2005/8/layout/vList6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9.xml><?xml version="1.0" encoding="utf-8"?>
<dgm:dataModel xmlns:dgm="http://schemas.openxmlformats.org/drawingml/2006/diagram" xmlns:a="http://schemas.openxmlformats.org/drawingml/2006/main">
  <dgm:ptLst>
    <dgm:pt modelId="{C845B270-A06A-B64D-AE01-6A88A9790DE4}" type="doc">
      <dgm:prSet loTypeId="urn:microsoft.com/office/officeart/2005/8/layout/arrow5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2BF6685-9950-5649-A337-7E663BC5613A}">
      <dgm:prSet phldrT="[Text]" custT="1"/>
      <dgm:spPr>
        <a:solidFill>
          <a:srgbClr val="FFFF00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ử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5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–</a:t>
          </a: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ị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[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á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]</a:t>
          </a: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í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c</a:t>
          </a:r>
          <a:endParaRPr lang="en-GB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ứ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c</a:t>
          </a:r>
          <a:endParaRPr lang="en-GB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ú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c</a:t>
          </a:r>
          <a:endParaRPr lang="en-GB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ị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c</a:t>
          </a:r>
          <a:endParaRPr lang="en-GB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AA51824E-33B0-B048-872C-771DA8EBE63A}" type="parTrans" cxnId="{4681255E-06DB-964F-BB12-A288088CC706}">
      <dgm:prSet/>
      <dgm:spPr/>
      <dgm:t>
        <a:bodyPr/>
        <a:lstStyle/>
        <a:p>
          <a:endParaRPr lang="en-GB"/>
        </a:p>
      </dgm:t>
    </dgm:pt>
    <dgm:pt modelId="{353B5395-C424-EB47-8098-9FB03F1EB7CC}" type="sibTrans" cxnId="{4681255E-06DB-964F-BB12-A288088CC706}">
      <dgm:prSet/>
      <dgm:spPr/>
      <dgm:t>
        <a:bodyPr/>
        <a:lstStyle/>
        <a:p>
          <a:endParaRPr lang="en-GB"/>
        </a:p>
      </dgm:t>
    </dgm:pt>
    <dgm:pt modelId="{C61193CC-A7AF-0143-97CC-218FCC70A209}">
      <dgm:prSet phldrT="[Text]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uy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ét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ẩn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ọng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ề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n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ình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h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ng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</a:p>
      </dgm:t>
    </dgm:pt>
    <dgm:pt modelId="{6C5A7957-F5CA-6E4B-A7DB-2733DDB1CED6}" type="parTrans" cxnId="{99D4ED11-B904-DD42-9D10-26736AB03740}">
      <dgm:prSet/>
      <dgm:spPr/>
      <dgm:t>
        <a:bodyPr/>
        <a:lstStyle/>
        <a:p>
          <a:endParaRPr lang="en-GB"/>
        </a:p>
      </dgm:t>
    </dgm:pt>
    <dgm:pt modelId="{60E940FE-8393-004D-A924-5A764588FB1D}" type="sibTrans" cxnId="{99D4ED11-B904-DD42-9D10-26736AB03740}">
      <dgm:prSet/>
      <dgm:spPr/>
      <dgm:t>
        <a:bodyPr/>
        <a:lstStyle/>
        <a:p>
          <a:endParaRPr lang="en-GB"/>
        </a:p>
      </dgm:t>
    </dgm:pt>
    <dgm:pt modelId="{07D02FB6-3CB1-C949-844B-EA55ACCC014D}" type="pres">
      <dgm:prSet presAssocID="{C845B270-A06A-B64D-AE01-6A88A9790DE4}" presName="diagram" presStyleCnt="0">
        <dgm:presLayoutVars>
          <dgm:dir/>
          <dgm:resizeHandles val="exact"/>
        </dgm:presLayoutVars>
      </dgm:prSet>
      <dgm:spPr/>
    </dgm:pt>
    <dgm:pt modelId="{095329DF-A990-B340-B984-CC0CFA5EA5F1}" type="pres">
      <dgm:prSet presAssocID="{42BF6685-9950-5649-A337-7E663BC5613A}" presName="arrow" presStyleLbl="node1" presStyleIdx="0" presStyleCnt="2" custRadScaleRad="100054" custRadScaleInc="-513">
        <dgm:presLayoutVars>
          <dgm:bulletEnabled val="1"/>
        </dgm:presLayoutVars>
      </dgm:prSet>
      <dgm:spPr/>
    </dgm:pt>
    <dgm:pt modelId="{965B9BE4-B661-C04A-8528-9D02D6C625A5}" type="pres">
      <dgm:prSet presAssocID="{C61193CC-A7AF-0143-97CC-218FCC70A209}" presName="arrow" presStyleLbl="node1" presStyleIdx="1" presStyleCnt="2" custRadScaleRad="99972" custRadScaleInc="513">
        <dgm:presLayoutVars>
          <dgm:bulletEnabled val="1"/>
        </dgm:presLayoutVars>
      </dgm:prSet>
      <dgm:spPr/>
    </dgm:pt>
  </dgm:ptLst>
  <dgm:cxnLst>
    <dgm:cxn modelId="{99D4ED11-B904-DD42-9D10-26736AB03740}" srcId="{C845B270-A06A-B64D-AE01-6A88A9790DE4}" destId="{C61193CC-A7AF-0143-97CC-218FCC70A209}" srcOrd="1" destOrd="0" parTransId="{6C5A7957-F5CA-6E4B-A7DB-2733DDB1CED6}" sibTransId="{60E940FE-8393-004D-A924-5A764588FB1D}"/>
    <dgm:cxn modelId="{9C2C4635-BD99-334E-889A-1B85AFD94EA9}" type="presOf" srcId="{C61193CC-A7AF-0143-97CC-218FCC70A209}" destId="{965B9BE4-B661-C04A-8528-9D02D6C625A5}" srcOrd="0" destOrd="0" presId="urn:microsoft.com/office/officeart/2005/8/layout/arrow5"/>
    <dgm:cxn modelId="{4681255E-06DB-964F-BB12-A288088CC706}" srcId="{C845B270-A06A-B64D-AE01-6A88A9790DE4}" destId="{42BF6685-9950-5649-A337-7E663BC5613A}" srcOrd="0" destOrd="0" parTransId="{AA51824E-33B0-B048-872C-771DA8EBE63A}" sibTransId="{353B5395-C424-EB47-8098-9FB03F1EB7CC}"/>
    <dgm:cxn modelId="{6E8ED496-8715-714E-9A6B-E8C898468C61}" type="presOf" srcId="{C845B270-A06A-B64D-AE01-6A88A9790DE4}" destId="{07D02FB6-3CB1-C949-844B-EA55ACCC014D}" srcOrd="0" destOrd="0" presId="urn:microsoft.com/office/officeart/2005/8/layout/arrow5"/>
    <dgm:cxn modelId="{C61BDEA5-CDB3-BE4B-8EB6-2E32ACE99480}" type="presOf" srcId="{42BF6685-9950-5649-A337-7E663BC5613A}" destId="{095329DF-A990-B340-B984-CC0CFA5EA5F1}" srcOrd="0" destOrd="0" presId="urn:microsoft.com/office/officeart/2005/8/layout/arrow5"/>
    <dgm:cxn modelId="{2FFC4CC9-E219-3940-8D4A-A33446B4F721}" type="presParOf" srcId="{07D02FB6-3CB1-C949-844B-EA55ACCC014D}" destId="{095329DF-A990-B340-B984-CC0CFA5EA5F1}" srcOrd="0" destOrd="0" presId="urn:microsoft.com/office/officeart/2005/8/layout/arrow5"/>
    <dgm:cxn modelId="{C5567AEC-F22E-5D43-AB56-88A4613C38E1}" type="presParOf" srcId="{07D02FB6-3CB1-C949-844B-EA55ACCC014D}" destId="{965B9BE4-B661-C04A-8528-9D02D6C625A5}" srcOrd="1" destOrd="0" presId="urn:microsoft.com/office/officeart/2005/8/layout/arrow5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B1340F9-8A81-43CC-B8FA-6E06E79C5222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ECC6F9B-91B8-4115-9BA2-2328923EA00B}">
      <dgm:prSet phldrT="[Văn bản]"/>
      <dgm:spPr/>
      <dgm:t>
        <a:bodyPr/>
        <a:lstStyle/>
        <a:p>
          <a:r>
            <a:rPr lang="en-US" dirty="0">
              <a:latin typeface="Times New Roman" pitchFamily="18" charset="0"/>
              <a:cs typeface="Times New Roman" pitchFamily="18" charset="0"/>
            </a:rPr>
            <a:t>4 YẾU TỐ BẢO VỆ TRẺ EM HIỆU QUẢ</a:t>
          </a:r>
        </a:p>
      </dgm:t>
    </dgm:pt>
    <dgm:pt modelId="{88E8219F-AA0D-4559-BB29-DE9641F439E0}" type="parTrans" cxnId="{285B3E3B-0982-4E48-B45B-CC4F15A0C056}">
      <dgm:prSet/>
      <dgm:spPr/>
      <dgm:t>
        <a:bodyPr/>
        <a:lstStyle/>
        <a:p>
          <a:endParaRPr lang="en-US"/>
        </a:p>
      </dgm:t>
    </dgm:pt>
    <dgm:pt modelId="{807CE49A-8C20-420C-97AF-8814E041BFF0}" type="sibTrans" cxnId="{285B3E3B-0982-4E48-B45B-CC4F15A0C056}">
      <dgm:prSet/>
      <dgm:spPr/>
      <dgm:t>
        <a:bodyPr/>
        <a:lstStyle/>
        <a:p>
          <a:endParaRPr lang="en-US"/>
        </a:p>
      </dgm:t>
    </dgm:pt>
    <dgm:pt modelId="{7BB2B7D0-A274-4931-9B22-59CC90F011C9}">
      <dgm:prSet phldrT="[Văn bản]"/>
      <dgm:spPr/>
      <dgm:t>
        <a:bodyPr/>
        <a:lstStyle/>
        <a:p>
          <a:r>
            <a:rPr lang="en-US" dirty="0" err="1">
              <a:latin typeface="Times New Roman" pitchFamily="18" charset="0"/>
              <a:cs typeface="Times New Roman" pitchFamily="18" charset="0"/>
            </a:rPr>
            <a:t>Một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hệ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hống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rõ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ràng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về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BVTE</a:t>
          </a:r>
        </a:p>
      </dgm:t>
    </dgm:pt>
    <dgm:pt modelId="{1DFCA7CA-974D-459E-A9AE-EFA178635FB6}" type="parTrans" cxnId="{D9DAFA3E-01E8-41CC-A0FD-A7213E33EA23}">
      <dgm:prSet/>
      <dgm:spPr/>
      <dgm:t>
        <a:bodyPr/>
        <a:lstStyle/>
        <a:p>
          <a:endParaRPr lang="en-US"/>
        </a:p>
      </dgm:t>
    </dgm:pt>
    <dgm:pt modelId="{A2490DCD-7B5F-4B48-8EAD-6857C543959D}" type="sibTrans" cxnId="{D9DAFA3E-01E8-41CC-A0FD-A7213E33EA23}">
      <dgm:prSet/>
      <dgm:spPr/>
      <dgm:t>
        <a:bodyPr/>
        <a:lstStyle/>
        <a:p>
          <a:endParaRPr lang="en-US"/>
        </a:p>
      </dgm:t>
    </dgm:pt>
    <dgm:pt modelId="{C8CC0B37-64D4-4317-9369-303473D85854}">
      <dgm:prSet phldrT="[Văn bản]"/>
      <dgm:spPr/>
      <dgm:t>
        <a:bodyPr/>
        <a:lstStyle/>
        <a:p>
          <a:r>
            <a:rPr lang="en-US" dirty="0" err="1">
              <a:latin typeface="Times New Roman" pitchFamily="18" charset="0"/>
              <a:cs typeface="Times New Roman" pitchFamily="18" charset="0"/>
            </a:rPr>
            <a:t>Vị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rí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,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vai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rò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của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ừng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người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rong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hệ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hống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DD4B04F6-C61C-488A-997C-2DDBD5D2FF7D}" type="parTrans" cxnId="{BA10EABF-A95A-4BE6-B314-8AA8A0BE655A}">
      <dgm:prSet/>
      <dgm:spPr/>
      <dgm:t>
        <a:bodyPr/>
        <a:lstStyle/>
        <a:p>
          <a:endParaRPr lang="en-US"/>
        </a:p>
      </dgm:t>
    </dgm:pt>
    <dgm:pt modelId="{34282704-6373-4EDE-B948-E2855358C407}" type="sibTrans" cxnId="{BA10EABF-A95A-4BE6-B314-8AA8A0BE655A}">
      <dgm:prSet/>
      <dgm:spPr/>
      <dgm:t>
        <a:bodyPr/>
        <a:lstStyle/>
        <a:p>
          <a:endParaRPr lang="en-US"/>
        </a:p>
      </dgm:t>
    </dgm:pt>
    <dgm:pt modelId="{74158722-F245-424B-A339-D584CB035929}">
      <dgm:prSet phldrT="[Văn bản]"/>
      <dgm:spPr/>
      <dgm:t>
        <a:bodyPr/>
        <a:lstStyle/>
        <a:p>
          <a:r>
            <a:rPr lang="en-US" dirty="0" err="1">
              <a:latin typeface="Times New Roman" pitchFamily="18" charset="0"/>
              <a:cs typeface="Times New Roman" pitchFamily="18" charset="0"/>
            </a:rPr>
            <a:t>Nhiệm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vụ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chuyên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môn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cụ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hể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của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ừng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vị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rí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E7210131-9FA1-4F84-929D-86A432819054}" type="parTrans" cxnId="{116D55B7-4F06-4E68-9E22-79E403F1E6D1}">
      <dgm:prSet/>
      <dgm:spPr/>
      <dgm:t>
        <a:bodyPr/>
        <a:lstStyle/>
        <a:p>
          <a:endParaRPr lang="en-US"/>
        </a:p>
      </dgm:t>
    </dgm:pt>
    <dgm:pt modelId="{B2A8D0D5-39DA-4613-8801-6264602D137D}" type="sibTrans" cxnId="{116D55B7-4F06-4E68-9E22-79E403F1E6D1}">
      <dgm:prSet/>
      <dgm:spPr/>
      <dgm:t>
        <a:bodyPr/>
        <a:lstStyle/>
        <a:p>
          <a:endParaRPr lang="en-US"/>
        </a:p>
      </dgm:t>
    </dgm:pt>
    <dgm:pt modelId="{FAF90C9E-FE98-4BE3-97C5-BA5D91DC8D8E}">
      <dgm:prSet/>
      <dgm:spPr/>
      <dgm:t>
        <a:bodyPr/>
        <a:lstStyle/>
        <a:p>
          <a:r>
            <a:rPr lang="en-US" dirty="0" err="1">
              <a:latin typeface="Times New Roman" pitchFamily="18" charset="0"/>
              <a:cs typeface="Times New Roman" pitchFamily="18" charset="0"/>
            </a:rPr>
            <a:t>Cán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bộ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BVTE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rong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hệ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hống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phải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năng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lực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,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kiến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hức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,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kỹ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năng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,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hái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độ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5E57C27A-0FBD-4179-A7A1-F1CFC8B8A85C}" type="parTrans" cxnId="{7BADE502-F246-466A-B1E5-3BC9F11DC2C2}">
      <dgm:prSet/>
      <dgm:spPr/>
      <dgm:t>
        <a:bodyPr/>
        <a:lstStyle/>
        <a:p>
          <a:endParaRPr lang="en-US"/>
        </a:p>
      </dgm:t>
    </dgm:pt>
    <dgm:pt modelId="{70C25147-0AC6-42A0-93DC-31C25941E68D}" type="sibTrans" cxnId="{7BADE502-F246-466A-B1E5-3BC9F11DC2C2}">
      <dgm:prSet/>
      <dgm:spPr/>
      <dgm:t>
        <a:bodyPr/>
        <a:lstStyle/>
        <a:p>
          <a:endParaRPr lang="en-US"/>
        </a:p>
      </dgm:t>
    </dgm:pt>
    <dgm:pt modelId="{ACB8419B-EE80-4312-BF84-922BF96BCB4E}" type="pres">
      <dgm:prSet presAssocID="{EB1340F9-8A81-43CC-B8FA-6E06E79C5222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48998CC6-01C9-4863-81AC-11F4B649CB65}" type="pres">
      <dgm:prSet presAssocID="{2ECC6F9B-91B8-4115-9BA2-2328923EA00B}" presName="hierRoot1" presStyleCnt="0">
        <dgm:presLayoutVars>
          <dgm:hierBranch val="init"/>
        </dgm:presLayoutVars>
      </dgm:prSet>
      <dgm:spPr/>
    </dgm:pt>
    <dgm:pt modelId="{1F76779A-856F-4ECD-AEAD-C18300900382}" type="pres">
      <dgm:prSet presAssocID="{2ECC6F9B-91B8-4115-9BA2-2328923EA00B}" presName="rootComposite1" presStyleCnt="0"/>
      <dgm:spPr/>
    </dgm:pt>
    <dgm:pt modelId="{D866AE70-6C87-44E3-813B-50D90186CA5D}" type="pres">
      <dgm:prSet presAssocID="{2ECC6F9B-91B8-4115-9BA2-2328923EA00B}" presName="rootText1" presStyleLbl="node0" presStyleIdx="0" presStyleCnt="1" custScaleX="151851">
        <dgm:presLayoutVars>
          <dgm:chPref val="3"/>
        </dgm:presLayoutVars>
      </dgm:prSet>
      <dgm:spPr/>
    </dgm:pt>
    <dgm:pt modelId="{44E61C81-4CE7-4BA1-9F1B-694126068B85}" type="pres">
      <dgm:prSet presAssocID="{2ECC6F9B-91B8-4115-9BA2-2328923EA00B}" presName="rootConnector1" presStyleLbl="node1" presStyleIdx="0" presStyleCnt="0"/>
      <dgm:spPr/>
    </dgm:pt>
    <dgm:pt modelId="{F3FE7A8A-5E66-4B4B-897D-006AED637259}" type="pres">
      <dgm:prSet presAssocID="{2ECC6F9B-91B8-4115-9BA2-2328923EA00B}" presName="hierChild2" presStyleCnt="0"/>
      <dgm:spPr/>
    </dgm:pt>
    <dgm:pt modelId="{2364C249-BD1C-4FFC-B9F4-25592EFCC4AC}" type="pres">
      <dgm:prSet presAssocID="{1DFCA7CA-974D-459E-A9AE-EFA178635FB6}" presName="Name37" presStyleLbl="parChTrans1D2" presStyleIdx="0" presStyleCnt="4"/>
      <dgm:spPr/>
    </dgm:pt>
    <dgm:pt modelId="{C8FB22E9-5B8E-4FC7-80D3-E7DEEE5DBCCF}" type="pres">
      <dgm:prSet presAssocID="{7BB2B7D0-A274-4931-9B22-59CC90F011C9}" presName="hierRoot2" presStyleCnt="0">
        <dgm:presLayoutVars>
          <dgm:hierBranch val="init"/>
        </dgm:presLayoutVars>
      </dgm:prSet>
      <dgm:spPr/>
    </dgm:pt>
    <dgm:pt modelId="{F5BE61C2-B470-4A82-868B-4941A87F9C37}" type="pres">
      <dgm:prSet presAssocID="{7BB2B7D0-A274-4931-9B22-59CC90F011C9}" presName="rootComposite" presStyleCnt="0"/>
      <dgm:spPr/>
    </dgm:pt>
    <dgm:pt modelId="{87516564-3F23-416A-BD81-EBF860588647}" type="pres">
      <dgm:prSet presAssocID="{7BB2B7D0-A274-4931-9B22-59CC90F011C9}" presName="rootText" presStyleLbl="node2" presStyleIdx="0" presStyleCnt="4">
        <dgm:presLayoutVars>
          <dgm:chPref val="3"/>
        </dgm:presLayoutVars>
      </dgm:prSet>
      <dgm:spPr/>
    </dgm:pt>
    <dgm:pt modelId="{CA112036-2FF2-4766-ADB0-366EA04F0BBC}" type="pres">
      <dgm:prSet presAssocID="{7BB2B7D0-A274-4931-9B22-59CC90F011C9}" presName="rootConnector" presStyleLbl="node2" presStyleIdx="0" presStyleCnt="4"/>
      <dgm:spPr/>
    </dgm:pt>
    <dgm:pt modelId="{62A23943-0987-4706-BFBB-DAF64B7FFF72}" type="pres">
      <dgm:prSet presAssocID="{7BB2B7D0-A274-4931-9B22-59CC90F011C9}" presName="hierChild4" presStyleCnt="0"/>
      <dgm:spPr/>
    </dgm:pt>
    <dgm:pt modelId="{69952C79-B7C6-4046-8377-C1DFA39F8481}" type="pres">
      <dgm:prSet presAssocID="{7BB2B7D0-A274-4931-9B22-59CC90F011C9}" presName="hierChild5" presStyleCnt="0"/>
      <dgm:spPr/>
    </dgm:pt>
    <dgm:pt modelId="{E34F547C-3AE1-46CE-B825-F124B9C34965}" type="pres">
      <dgm:prSet presAssocID="{DD4B04F6-C61C-488A-997C-2DDBD5D2FF7D}" presName="Name37" presStyleLbl="parChTrans1D2" presStyleIdx="1" presStyleCnt="4"/>
      <dgm:spPr/>
    </dgm:pt>
    <dgm:pt modelId="{91A012B6-E2F0-4968-8140-8D4B36B342A1}" type="pres">
      <dgm:prSet presAssocID="{C8CC0B37-64D4-4317-9369-303473D85854}" presName="hierRoot2" presStyleCnt="0">
        <dgm:presLayoutVars>
          <dgm:hierBranch val="init"/>
        </dgm:presLayoutVars>
      </dgm:prSet>
      <dgm:spPr/>
    </dgm:pt>
    <dgm:pt modelId="{51227B18-5C67-433D-90CA-BD4D3580ED74}" type="pres">
      <dgm:prSet presAssocID="{C8CC0B37-64D4-4317-9369-303473D85854}" presName="rootComposite" presStyleCnt="0"/>
      <dgm:spPr/>
    </dgm:pt>
    <dgm:pt modelId="{DAB03311-90F8-47F2-9D45-0600497D7DB5}" type="pres">
      <dgm:prSet presAssocID="{C8CC0B37-64D4-4317-9369-303473D85854}" presName="rootText" presStyleLbl="node2" presStyleIdx="1" presStyleCnt="4">
        <dgm:presLayoutVars>
          <dgm:chPref val="3"/>
        </dgm:presLayoutVars>
      </dgm:prSet>
      <dgm:spPr/>
    </dgm:pt>
    <dgm:pt modelId="{98AA84C4-401F-4F67-BAA7-AEB2FCDF7C33}" type="pres">
      <dgm:prSet presAssocID="{C8CC0B37-64D4-4317-9369-303473D85854}" presName="rootConnector" presStyleLbl="node2" presStyleIdx="1" presStyleCnt="4"/>
      <dgm:spPr/>
    </dgm:pt>
    <dgm:pt modelId="{32F1F6DF-ACB1-4DA5-A01E-3FEF8CF47388}" type="pres">
      <dgm:prSet presAssocID="{C8CC0B37-64D4-4317-9369-303473D85854}" presName="hierChild4" presStyleCnt="0"/>
      <dgm:spPr/>
    </dgm:pt>
    <dgm:pt modelId="{01775FF3-A301-4090-8DEC-C1C3230F0922}" type="pres">
      <dgm:prSet presAssocID="{C8CC0B37-64D4-4317-9369-303473D85854}" presName="hierChild5" presStyleCnt="0"/>
      <dgm:spPr/>
    </dgm:pt>
    <dgm:pt modelId="{53FB414A-2FBE-4007-BB0E-D74DB3EE48CE}" type="pres">
      <dgm:prSet presAssocID="{E7210131-9FA1-4F84-929D-86A432819054}" presName="Name37" presStyleLbl="parChTrans1D2" presStyleIdx="2" presStyleCnt="4"/>
      <dgm:spPr/>
    </dgm:pt>
    <dgm:pt modelId="{391B99CB-63F7-47B4-A8C8-2737B0A22E71}" type="pres">
      <dgm:prSet presAssocID="{74158722-F245-424B-A339-D584CB035929}" presName="hierRoot2" presStyleCnt="0">
        <dgm:presLayoutVars>
          <dgm:hierBranch val="init"/>
        </dgm:presLayoutVars>
      </dgm:prSet>
      <dgm:spPr/>
    </dgm:pt>
    <dgm:pt modelId="{3D636D3E-3A76-47CA-9281-1E22C0D6709D}" type="pres">
      <dgm:prSet presAssocID="{74158722-F245-424B-A339-D584CB035929}" presName="rootComposite" presStyleCnt="0"/>
      <dgm:spPr/>
    </dgm:pt>
    <dgm:pt modelId="{A4CE73F4-5181-4E19-BD06-E7B8BCF15D22}" type="pres">
      <dgm:prSet presAssocID="{74158722-F245-424B-A339-D584CB035929}" presName="rootText" presStyleLbl="node2" presStyleIdx="2" presStyleCnt="4">
        <dgm:presLayoutVars>
          <dgm:chPref val="3"/>
        </dgm:presLayoutVars>
      </dgm:prSet>
      <dgm:spPr/>
    </dgm:pt>
    <dgm:pt modelId="{D6545E25-B1CB-4350-AB13-BA034410CB2A}" type="pres">
      <dgm:prSet presAssocID="{74158722-F245-424B-A339-D584CB035929}" presName="rootConnector" presStyleLbl="node2" presStyleIdx="2" presStyleCnt="4"/>
      <dgm:spPr/>
    </dgm:pt>
    <dgm:pt modelId="{F1187A90-A5E4-492B-8AED-98AC7534C23B}" type="pres">
      <dgm:prSet presAssocID="{74158722-F245-424B-A339-D584CB035929}" presName="hierChild4" presStyleCnt="0"/>
      <dgm:spPr/>
    </dgm:pt>
    <dgm:pt modelId="{AA19D6A5-5A9E-48A9-886C-BAC68A51CBAB}" type="pres">
      <dgm:prSet presAssocID="{74158722-F245-424B-A339-D584CB035929}" presName="hierChild5" presStyleCnt="0"/>
      <dgm:spPr/>
    </dgm:pt>
    <dgm:pt modelId="{2240C1D8-4F17-4260-A093-889D414466BF}" type="pres">
      <dgm:prSet presAssocID="{5E57C27A-0FBD-4179-A7A1-F1CFC8B8A85C}" presName="Name37" presStyleLbl="parChTrans1D2" presStyleIdx="3" presStyleCnt="4"/>
      <dgm:spPr/>
    </dgm:pt>
    <dgm:pt modelId="{2A691118-B7BA-45F3-8A57-0D1D808F7BD3}" type="pres">
      <dgm:prSet presAssocID="{FAF90C9E-FE98-4BE3-97C5-BA5D91DC8D8E}" presName="hierRoot2" presStyleCnt="0">
        <dgm:presLayoutVars>
          <dgm:hierBranch val="init"/>
        </dgm:presLayoutVars>
      </dgm:prSet>
      <dgm:spPr/>
    </dgm:pt>
    <dgm:pt modelId="{0F3A8734-A6AB-4AB6-ABD0-4B23D5EFAA83}" type="pres">
      <dgm:prSet presAssocID="{FAF90C9E-FE98-4BE3-97C5-BA5D91DC8D8E}" presName="rootComposite" presStyleCnt="0"/>
      <dgm:spPr/>
    </dgm:pt>
    <dgm:pt modelId="{9C383932-AB1A-4205-B187-6830E2534555}" type="pres">
      <dgm:prSet presAssocID="{FAF90C9E-FE98-4BE3-97C5-BA5D91DC8D8E}" presName="rootText" presStyleLbl="node2" presStyleIdx="3" presStyleCnt="4">
        <dgm:presLayoutVars>
          <dgm:chPref val="3"/>
        </dgm:presLayoutVars>
      </dgm:prSet>
      <dgm:spPr/>
    </dgm:pt>
    <dgm:pt modelId="{A1C08421-0CEA-4E57-BC9F-42DC0DB4CC7C}" type="pres">
      <dgm:prSet presAssocID="{FAF90C9E-FE98-4BE3-97C5-BA5D91DC8D8E}" presName="rootConnector" presStyleLbl="node2" presStyleIdx="3" presStyleCnt="4"/>
      <dgm:spPr/>
    </dgm:pt>
    <dgm:pt modelId="{1D00F7ED-C890-44F7-983B-5B87EF303270}" type="pres">
      <dgm:prSet presAssocID="{FAF90C9E-FE98-4BE3-97C5-BA5D91DC8D8E}" presName="hierChild4" presStyleCnt="0"/>
      <dgm:spPr/>
    </dgm:pt>
    <dgm:pt modelId="{8C32FA2B-CDFE-436E-82E3-9798B8E5EDFE}" type="pres">
      <dgm:prSet presAssocID="{FAF90C9E-FE98-4BE3-97C5-BA5D91DC8D8E}" presName="hierChild5" presStyleCnt="0"/>
      <dgm:spPr/>
    </dgm:pt>
    <dgm:pt modelId="{5C0E68FC-1C9E-44D7-B8FC-D1CB26FE16D2}" type="pres">
      <dgm:prSet presAssocID="{2ECC6F9B-91B8-4115-9BA2-2328923EA00B}" presName="hierChild3" presStyleCnt="0"/>
      <dgm:spPr/>
    </dgm:pt>
  </dgm:ptLst>
  <dgm:cxnLst>
    <dgm:cxn modelId="{7BADE502-F246-466A-B1E5-3BC9F11DC2C2}" srcId="{2ECC6F9B-91B8-4115-9BA2-2328923EA00B}" destId="{FAF90C9E-FE98-4BE3-97C5-BA5D91DC8D8E}" srcOrd="3" destOrd="0" parTransId="{5E57C27A-0FBD-4179-A7A1-F1CFC8B8A85C}" sibTransId="{70C25147-0AC6-42A0-93DC-31C25941E68D}"/>
    <dgm:cxn modelId="{739D211E-66E8-4610-B1AF-EC0668FB1ECE}" type="presOf" srcId="{EB1340F9-8A81-43CC-B8FA-6E06E79C5222}" destId="{ACB8419B-EE80-4312-BF84-922BF96BCB4E}" srcOrd="0" destOrd="0" presId="urn:microsoft.com/office/officeart/2005/8/layout/orgChart1"/>
    <dgm:cxn modelId="{1BEC9A25-3C8B-457E-9621-3467394FA420}" type="presOf" srcId="{C8CC0B37-64D4-4317-9369-303473D85854}" destId="{DAB03311-90F8-47F2-9D45-0600497D7DB5}" srcOrd="0" destOrd="0" presId="urn:microsoft.com/office/officeart/2005/8/layout/orgChart1"/>
    <dgm:cxn modelId="{1FE00838-2F1C-4416-B13C-D04655D91D22}" type="presOf" srcId="{C8CC0B37-64D4-4317-9369-303473D85854}" destId="{98AA84C4-401F-4F67-BAA7-AEB2FCDF7C33}" srcOrd="1" destOrd="0" presId="urn:microsoft.com/office/officeart/2005/8/layout/orgChart1"/>
    <dgm:cxn modelId="{87360739-193F-456D-B436-7038CFFECD3F}" type="presOf" srcId="{74158722-F245-424B-A339-D584CB035929}" destId="{A4CE73F4-5181-4E19-BD06-E7B8BCF15D22}" srcOrd="0" destOrd="0" presId="urn:microsoft.com/office/officeart/2005/8/layout/orgChart1"/>
    <dgm:cxn modelId="{285B3E3B-0982-4E48-B45B-CC4F15A0C056}" srcId="{EB1340F9-8A81-43CC-B8FA-6E06E79C5222}" destId="{2ECC6F9B-91B8-4115-9BA2-2328923EA00B}" srcOrd="0" destOrd="0" parTransId="{88E8219F-AA0D-4559-BB29-DE9641F439E0}" sibTransId="{807CE49A-8C20-420C-97AF-8814E041BFF0}"/>
    <dgm:cxn modelId="{F772153D-FC15-4AFA-A57F-9767A8475AA5}" type="presOf" srcId="{7BB2B7D0-A274-4931-9B22-59CC90F011C9}" destId="{87516564-3F23-416A-BD81-EBF860588647}" srcOrd="0" destOrd="0" presId="urn:microsoft.com/office/officeart/2005/8/layout/orgChart1"/>
    <dgm:cxn modelId="{D9DAFA3E-01E8-41CC-A0FD-A7213E33EA23}" srcId="{2ECC6F9B-91B8-4115-9BA2-2328923EA00B}" destId="{7BB2B7D0-A274-4931-9B22-59CC90F011C9}" srcOrd="0" destOrd="0" parTransId="{1DFCA7CA-974D-459E-A9AE-EFA178635FB6}" sibTransId="{A2490DCD-7B5F-4B48-8EAD-6857C543959D}"/>
    <dgm:cxn modelId="{A79E723F-9C59-4E9F-9292-C820A710FE39}" type="presOf" srcId="{2ECC6F9B-91B8-4115-9BA2-2328923EA00B}" destId="{44E61C81-4CE7-4BA1-9F1B-694126068B85}" srcOrd="1" destOrd="0" presId="urn:microsoft.com/office/officeart/2005/8/layout/orgChart1"/>
    <dgm:cxn modelId="{506E933F-2ECD-48A8-93E7-FB379FB1E184}" type="presOf" srcId="{2ECC6F9B-91B8-4115-9BA2-2328923EA00B}" destId="{D866AE70-6C87-44E3-813B-50D90186CA5D}" srcOrd="0" destOrd="0" presId="urn:microsoft.com/office/officeart/2005/8/layout/orgChart1"/>
    <dgm:cxn modelId="{1CDF6C46-3FE0-4533-BD35-E921B7396BFC}" type="presOf" srcId="{DD4B04F6-C61C-488A-997C-2DDBD5D2FF7D}" destId="{E34F547C-3AE1-46CE-B825-F124B9C34965}" srcOrd="0" destOrd="0" presId="urn:microsoft.com/office/officeart/2005/8/layout/orgChart1"/>
    <dgm:cxn modelId="{24F71449-B5B3-4839-9A78-FCECE2A9B469}" type="presOf" srcId="{5E57C27A-0FBD-4179-A7A1-F1CFC8B8A85C}" destId="{2240C1D8-4F17-4260-A093-889D414466BF}" srcOrd="0" destOrd="0" presId="urn:microsoft.com/office/officeart/2005/8/layout/orgChart1"/>
    <dgm:cxn modelId="{CC2E387B-67AB-4D84-8445-E52CAF7B150D}" type="presOf" srcId="{FAF90C9E-FE98-4BE3-97C5-BA5D91DC8D8E}" destId="{A1C08421-0CEA-4E57-BC9F-42DC0DB4CC7C}" srcOrd="1" destOrd="0" presId="urn:microsoft.com/office/officeart/2005/8/layout/orgChart1"/>
    <dgm:cxn modelId="{116D55B7-4F06-4E68-9E22-79E403F1E6D1}" srcId="{2ECC6F9B-91B8-4115-9BA2-2328923EA00B}" destId="{74158722-F245-424B-A339-D584CB035929}" srcOrd="2" destOrd="0" parTransId="{E7210131-9FA1-4F84-929D-86A432819054}" sibTransId="{B2A8D0D5-39DA-4613-8801-6264602D137D}"/>
    <dgm:cxn modelId="{BF1813B8-9C05-44E1-B308-082D32D23FCE}" type="presOf" srcId="{1DFCA7CA-974D-459E-A9AE-EFA178635FB6}" destId="{2364C249-BD1C-4FFC-B9F4-25592EFCC4AC}" srcOrd="0" destOrd="0" presId="urn:microsoft.com/office/officeart/2005/8/layout/orgChart1"/>
    <dgm:cxn modelId="{BA10EABF-A95A-4BE6-B314-8AA8A0BE655A}" srcId="{2ECC6F9B-91B8-4115-9BA2-2328923EA00B}" destId="{C8CC0B37-64D4-4317-9369-303473D85854}" srcOrd="1" destOrd="0" parTransId="{DD4B04F6-C61C-488A-997C-2DDBD5D2FF7D}" sibTransId="{34282704-6373-4EDE-B948-E2855358C407}"/>
    <dgm:cxn modelId="{5D0E5CCE-973A-48BE-8A99-C8EB709EAB83}" type="presOf" srcId="{7BB2B7D0-A274-4931-9B22-59CC90F011C9}" destId="{CA112036-2FF2-4766-ADB0-366EA04F0BBC}" srcOrd="1" destOrd="0" presId="urn:microsoft.com/office/officeart/2005/8/layout/orgChart1"/>
    <dgm:cxn modelId="{3E5EE3E5-AC66-4F87-BEFC-B74F5BB8704D}" type="presOf" srcId="{E7210131-9FA1-4F84-929D-86A432819054}" destId="{53FB414A-2FBE-4007-BB0E-D74DB3EE48CE}" srcOrd="0" destOrd="0" presId="urn:microsoft.com/office/officeart/2005/8/layout/orgChart1"/>
    <dgm:cxn modelId="{BC877CF2-49DA-40C8-844C-22FC3BE64C3E}" type="presOf" srcId="{FAF90C9E-FE98-4BE3-97C5-BA5D91DC8D8E}" destId="{9C383932-AB1A-4205-B187-6830E2534555}" srcOrd="0" destOrd="0" presId="urn:microsoft.com/office/officeart/2005/8/layout/orgChart1"/>
    <dgm:cxn modelId="{DCA94BF5-0889-496B-9E63-1053515F6920}" type="presOf" srcId="{74158722-F245-424B-A339-D584CB035929}" destId="{D6545E25-B1CB-4350-AB13-BA034410CB2A}" srcOrd="1" destOrd="0" presId="urn:microsoft.com/office/officeart/2005/8/layout/orgChart1"/>
    <dgm:cxn modelId="{0A23DCB0-7DB6-4BD1-BC86-010E34AA4BCD}" type="presParOf" srcId="{ACB8419B-EE80-4312-BF84-922BF96BCB4E}" destId="{48998CC6-01C9-4863-81AC-11F4B649CB65}" srcOrd="0" destOrd="0" presId="urn:microsoft.com/office/officeart/2005/8/layout/orgChart1"/>
    <dgm:cxn modelId="{F0C16601-B371-4098-AC30-EB02C61C0D28}" type="presParOf" srcId="{48998CC6-01C9-4863-81AC-11F4B649CB65}" destId="{1F76779A-856F-4ECD-AEAD-C18300900382}" srcOrd="0" destOrd="0" presId="urn:microsoft.com/office/officeart/2005/8/layout/orgChart1"/>
    <dgm:cxn modelId="{CB26375B-444A-4F5D-AAE7-34D1273198ED}" type="presParOf" srcId="{1F76779A-856F-4ECD-AEAD-C18300900382}" destId="{D866AE70-6C87-44E3-813B-50D90186CA5D}" srcOrd="0" destOrd="0" presId="urn:microsoft.com/office/officeart/2005/8/layout/orgChart1"/>
    <dgm:cxn modelId="{86B99162-434A-4AEA-A6C0-99B5F0094CAF}" type="presParOf" srcId="{1F76779A-856F-4ECD-AEAD-C18300900382}" destId="{44E61C81-4CE7-4BA1-9F1B-694126068B85}" srcOrd="1" destOrd="0" presId="urn:microsoft.com/office/officeart/2005/8/layout/orgChart1"/>
    <dgm:cxn modelId="{01171FB6-655F-4D09-9F9A-2B217724322F}" type="presParOf" srcId="{48998CC6-01C9-4863-81AC-11F4B649CB65}" destId="{F3FE7A8A-5E66-4B4B-897D-006AED637259}" srcOrd="1" destOrd="0" presId="urn:microsoft.com/office/officeart/2005/8/layout/orgChart1"/>
    <dgm:cxn modelId="{9367B6E1-AAA0-4757-A757-3A663F4C900A}" type="presParOf" srcId="{F3FE7A8A-5E66-4B4B-897D-006AED637259}" destId="{2364C249-BD1C-4FFC-B9F4-25592EFCC4AC}" srcOrd="0" destOrd="0" presId="urn:microsoft.com/office/officeart/2005/8/layout/orgChart1"/>
    <dgm:cxn modelId="{CBF73E8A-FE6D-4F68-9303-8B085C3E16F0}" type="presParOf" srcId="{F3FE7A8A-5E66-4B4B-897D-006AED637259}" destId="{C8FB22E9-5B8E-4FC7-80D3-E7DEEE5DBCCF}" srcOrd="1" destOrd="0" presId="urn:microsoft.com/office/officeart/2005/8/layout/orgChart1"/>
    <dgm:cxn modelId="{C82A577C-64C7-4A7F-AE29-1415041C65E1}" type="presParOf" srcId="{C8FB22E9-5B8E-4FC7-80D3-E7DEEE5DBCCF}" destId="{F5BE61C2-B470-4A82-868B-4941A87F9C37}" srcOrd="0" destOrd="0" presId="urn:microsoft.com/office/officeart/2005/8/layout/orgChart1"/>
    <dgm:cxn modelId="{CCB3E6D1-8ED3-40DF-B9CD-AA1E5231C7BE}" type="presParOf" srcId="{F5BE61C2-B470-4A82-868B-4941A87F9C37}" destId="{87516564-3F23-416A-BD81-EBF860588647}" srcOrd="0" destOrd="0" presId="urn:microsoft.com/office/officeart/2005/8/layout/orgChart1"/>
    <dgm:cxn modelId="{81EE64D7-465C-4B41-B58B-A770C3406948}" type="presParOf" srcId="{F5BE61C2-B470-4A82-868B-4941A87F9C37}" destId="{CA112036-2FF2-4766-ADB0-366EA04F0BBC}" srcOrd="1" destOrd="0" presId="urn:microsoft.com/office/officeart/2005/8/layout/orgChart1"/>
    <dgm:cxn modelId="{DEBFB0F2-CC19-4122-B073-D2A54740C136}" type="presParOf" srcId="{C8FB22E9-5B8E-4FC7-80D3-E7DEEE5DBCCF}" destId="{62A23943-0987-4706-BFBB-DAF64B7FFF72}" srcOrd="1" destOrd="0" presId="urn:microsoft.com/office/officeart/2005/8/layout/orgChart1"/>
    <dgm:cxn modelId="{3F016129-72D4-4ED2-B186-2A921467E19B}" type="presParOf" srcId="{C8FB22E9-5B8E-4FC7-80D3-E7DEEE5DBCCF}" destId="{69952C79-B7C6-4046-8377-C1DFA39F8481}" srcOrd="2" destOrd="0" presId="urn:microsoft.com/office/officeart/2005/8/layout/orgChart1"/>
    <dgm:cxn modelId="{C467B88E-A2DC-4C11-9D0A-D020EA6376D4}" type="presParOf" srcId="{F3FE7A8A-5E66-4B4B-897D-006AED637259}" destId="{E34F547C-3AE1-46CE-B825-F124B9C34965}" srcOrd="2" destOrd="0" presId="urn:microsoft.com/office/officeart/2005/8/layout/orgChart1"/>
    <dgm:cxn modelId="{9CC8E8FF-EA36-4A5A-83CD-2DA2BC743AC5}" type="presParOf" srcId="{F3FE7A8A-5E66-4B4B-897D-006AED637259}" destId="{91A012B6-E2F0-4968-8140-8D4B36B342A1}" srcOrd="3" destOrd="0" presId="urn:microsoft.com/office/officeart/2005/8/layout/orgChart1"/>
    <dgm:cxn modelId="{18E9C070-5EC3-4B60-B58B-4446963CBF36}" type="presParOf" srcId="{91A012B6-E2F0-4968-8140-8D4B36B342A1}" destId="{51227B18-5C67-433D-90CA-BD4D3580ED74}" srcOrd="0" destOrd="0" presId="urn:microsoft.com/office/officeart/2005/8/layout/orgChart1"/>
    <dgm:cxn modelId="{4E36F330-55C4-4CD2-A950-21A939F3F871}" type="presParOf" srcId="{51227B18-5C67-433D-90CA-BD4D3580ED74}" destId="{DAB03311-90F8-47F2-9D45-0600497D7DB5}" srcOrd="0" destOrd="0" presId="urn:microsoft.com/office/officeart/2005/8/layout/orgChart1"/>
    <dgm:cxn modelId="{002E6A09-F543-4182-A580-321EA798DF7F}" type="presParOf" srcId="{51227B18-5C67-433D-90CA-BD4D3580ED74}" destId="{98AA84C4-401F-4F67-BAA7-AEB2FCDF7C33}" srcOrd="1" destOrd="0" presId="urn:microsoft.com/office/officeart/2005/8/layout/orgChart1"/>
    <dgm:cxn modelId="{86D2847A-C7D1-4579-B27A-7AB9AC4DEBEE}" type="presParOf" srcId="{91A012B6-E2F0-4968-8140-8D4B36B342A1}" destId="{32F1F6DF-ACB1-4DA5-A01E-3FEF8CF47388}" srcOrd="1" destOrd="0" presId="urn:microsoft.com/office/officeart/2005/8/layout/orgChart1"/>
    <dgm:cxn modelId="{547E64B9-2E3F-42F3-93A3-82FDFE5B1FC1}" type="presParOf" srcId="{91A012B6-E2F0-4968-8140-8D4B36B342A1}" destId="{01775FF3-A301-4090-8DEC-C1C3230F0922}" srcOrd="2" destOrd="0" presId="urn:microsoft.com/office/officeart/2005/8/layout/orgChart1"/>
    <dgm:cxn modelId="{B102F268-A0A7-491C-AE20-48604CC3843F}" type="presParOf" srcId="{F3FE7A8A-5E66-4B4B-897D-006AED637259}" destId="{53FB414A-2FBE-4007-BB0E-D74DB3EE48CE}" srcOrd="4" destOrd="0" presId="urn:microsoft.com/office/officeart/2005/8/layout/orgChart1"/>
    <dgm:cxn modelId="{E98029D1-A4E9-4B5E-A8A6-8543CAC1165A}" type="presParOf" srcId="{F3FE7A8A-5E66-4B4B-897D-006AED637259}" destId="{391B99CB-63F7-47B4-A8C8-2737B0A22E71}" srcOrd="5" destOrd="0" presId="urn:microsoft.com/office/officeart/2005/8/layout/orgChart1"/>
    <dgm:cxn modelId="{0EF8035E-525A-4A60-9128-6E5E7E0C4E69}" type="presParOf" srcId="{391B99CB-63F7-47B4-A8C8-2737B0A22E71}" destId="{3D636D3E-3A76-47CA-9281-1E22C0D6709D}" srcOrd="0" destOrd="0" presId="urn:microsoft.com/office/officeart/2005/8/layout/orgChart1"/>
    <dgm:cxn modelId="{31AAC1B9-D23C-4D89-9C87-9B8DA0F62253}" type="presParOf" srcId="{3D636D3E-3A76-47CA-9281-1E22C0D6709D}" destId="{A4CE73F4-5181-4E19-BD06-E7B8BCF15D22}" srcOrd="0" destOrd="0" presId="urn:microsoft.com/office/officeart/2005/8/layout/orgChart1"/>
    <dgm:cxn modelId="{F36B4E11-68A2-47E5-91FE-964581977E7C}" type="presParOf" srcId="{3D636D3E-3A76-47CA-9281-1E22C0D6709D}" destId="{D6545E25-B1CB-4350-AB13-BA034410CB2A}" srcOrd="1" destOrd="0" presId="urn:microsoft.com/office/officeart/2005/8/layout/orgChart1"/>
    <dgm:cxn modelId="{162DA625-E0F6-48D4-97C4-C963128EFB00}" type="presParOf" srcId="{391B99CB-63F7-47B4-A8C8-2737B0A22E71}" destId="{F1187A90-A5E4-492B-8AED-98AC7534C23B}" srcOrd="1" destOrd="0" presId="urn:microsoft.com/office/officeart/2005/8/layout/orgChart1"/>
    <dgm:cxn modelId="{F0AF7A5D-F6A2-45D4-B967-60D8B5F495D0}" type="presParOf" srcId="{391B99CB-63F7-47B4-A8C8-2737B0A22E71}" destId="{AA19D6A5-5A9E-48A9-886C-BAC68A51CBAB}" srcOrd="2" destOrd="0" presId="urn:microsoft.com/office/officeart/2005/8/layout/orgChart1"/>
    <dgm:cxn modelId="{95B79133-02C0-4FA4-9207-9F6C953A5905}" type="presParOf" srcId="{F3FE7A8A-5E66-4B4B-897D-006AED637259}" destId="{2240C1D8-4F17-4260-A093-889D414466BF}" srcOrd="6" destOrd="0" presId="urn:microsoft.com/office/officeart/2005/8/layout/orgChart1"/>
    <dgm:cxn modelId="{6EE7D79D-6C12-4752-A58A-F8521AA296AF}" type="presParOf" srcId="{F3FE7A8A-5E66-4B4B-897D-006AED637259}" destId="{2A691118-B7BA-45F3-8A57-0D1D808F7BD3}" srcOrd="7" destOrd="0" presId="urn:microsoft.com/office/officeart/2005/8/layout/orgChart1"/>
    <dgm:cxn modelId="{B5994322-5AFA-40FE-BF9C-704A1E975C86}" type="presParOf" srcId="{2A691118-B7BA-45F3-8A57-0D1D808F7BD3}" destId="{0F3A8734-A6AB-4AB6-ABD0-4B23D5EFAA83}" srcOrd="0" destOrd="0" presId="urn:microsoft.com/office/officeart/2005/8/layout/orgChart1"/>
    <dgm:cxn modelId="{4582107C-943F-48BE-B5B5-D61A659A6008}" type="presParOf" srcId="{0F3A8734-A6AB-4AB6-ABD0-4B23D5EFAA83}" destId="{9C383932-AB1A-4205-B187-6830E2534555}" srcOrd="0" destOrd="0" presId="urn:microsoft.com/office/officeart/2005/8/layout/orgChart1"/>
    <dgm:cxn modelId="{D62F765D-B197-4D30-B7B8-76C19781C2DB}" type="presParOf" srcId="{0F3A8734-A6AB-4AB6-ABD0-4B23D5EFAA83}" destId="{A1C08421-0CEA-4E57-BC9F-42DC0DB4CC7C}" srcOrd="1" destOrd="0" presId="urn:microsoft.com/office/officeart/2005/8/layout/orgChart1"/>
    <dgm:cxn modelId="{9E11EB76-EEDC-42E9-AE21-59A5B43DB016}" type="presParOf" srcId="{2A691118-B7BA-45F3-8A57-0D1D808F7BD3}" destId="{1D00F7ED-C890-44F7-983B-5B87EF303270}" srcOrd="1" destOrd="0" presId="urn:microsoft.com/office/officeart/2005/8/layout/orgChart1"/>
    <dgm:cxn modelId="{7779E52D-DC54-4E6B-91B1-0DCA4D0109F8}" type="presParOf" srcId="{2A691118-B7BA-45F3-8A57-0D1D808F7BD3}" destId="{8C32FA2B-CDFE-436E-82E3-9798B8E5EDFE}" srcOrd="2" destOrd="0" presId="urn:microsoft.com/office/officeart/2005/8/layout/orgChart1"/>
    <dgm:cxn modelId="{80E795F0-77B9-4596-BEEB-81D6BCA6A873}" type="presParOf" srcId="{48998CC6-01C9-4863-81AC-11F4B649CB65}" destId="{5C0E68FC-1C9E-44D7-B8FC-D1CB26FE16D2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0.xml><?xml version="1.0" encoding="utf-8"?>
<dgm:dataModel xmlns:dgm="http://schemas.openxmlformats.org/drawingml/2006/diagram" xmlns:a="http://schemas.openxmlformats.org/drawingml/2006/main">
  <dgm:ptLst>
    <dgm:pt modelId="{252C8D23-FAFB-DC41-993B-8C60DC24098F}" type="doc">
      <dgm:prSet loTypeId="urn:microsoft.com/office/officeart/2005/8/layout/matrix3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B83A271E-0881-3C46-8EA4-E4B491DB285D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iều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ì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ây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ú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ý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ay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ban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ầu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?</a:t>
          </a:r>
        </a:p>
      </dgm:t>
    </dgm:pt>
    <dgm:pt modelId="{350CB1F3-8296-3D49-9728-E730856EA8B2}" type="parTrans" cxnId="{A4E97805-A6BB-6644-92A0-5AFF7285B3B4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5954B75E-3BD1-D34A-A656-301239ED0EF6}" type="sibTrans" cxnId="{A4E97805-A6BB-6644-92A0-5AFF7285B3B4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0603B4FE-0323-7943-89EA-3FDF0ED0B537}">
      <dgm:prSet phldrT="[Text]" custT="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i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ào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m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c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hi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ại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uất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iện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?</a:t>
          </a:r>
        </a:p>
      </dgm:t>
    </dgm:pt>
    <dgm:pt modelId="{2BA5DA3D-FE87-6045-9C7E-2B02D8635C17}" type="parTrans" cxnId="{41AA3702-0994-9C4B-8338-BC5187FDC65A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A78575D2-917F-774E-AC18-EC3FE32DC950}" type="sibTrans" cxnId="{41AA3702-0994-9C4B-8338-BC5187FDC65A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FD3EC842-F267-5447-8242-E53193895E58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.g.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ận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a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ằng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ẹ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Nam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éo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con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ất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ô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ạo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i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à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ón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úng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ở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gm:t>
    </dgm:pt>
    <dgm:pt modelId="{5D784155-377B-EF49-B3B2-1345849436B7}" type="parTrans" cxnId="{8A35D220-2F0B-5A4F-BBD9-ECD5162A91BF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00FC8179-ECE6-1E4A-A284-C88844ACEE11}" type="sibTrans" cxnId="{8A35D220-2F0B-5A4F-BBD9-ECD5162A91BF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EE3BAD91-263C-5A46-8AAC-2018C5F1DF31}">
      <dgm:prSet custT="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.g.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ấy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Nam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óc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i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ị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ẹ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éo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ẹ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ười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ậu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ấy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éo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ậu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ấy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ớc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ặt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ọi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ói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: “10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uổi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ồi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à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òn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ư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ử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ư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ứa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con”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ấy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Nam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uồn</a:t>
          </a:r>
          <a:endParaRPr lang="en-GB" sz="28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pPr marL="0" lvl="0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8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55011462-A256-904A-8299-0ED2EEBF107A}" type="parTrans" cxnId="{87B3179F-5367-684E-B36C-45A430A63A5B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360825CB-E52F-8F4A-9B78-2261BDE98CB3}" type="sibTrans" cxnId="{87B3179F-5367-684E-B36C-45A430A63A5B}">
      <dgm:prSet/>
      <dgm:spPr/>
      <dgm:t>
        <a:bodyPr/>
        <a:lstStyle/>
        <a:p>
          <a:endParaRPr lang="en-GB" sz="2800">
            <a:solidFill>
              <a:schemeClr val="tx1"/>
            </a:solidFill>
          </a:endParaRPr>
        </a:p>
      </dgm:t>
    </dgm:pt>
    <dgm:pt modelId="{253604C3-D31D-9A4A-B997-3A73CE1CFF03}" type="pres">
      <dgm:prSet presAssocID="{252C8D23-FAFB-DC41-993B-8C60DC24098F}" presName="matrix" presStyleCnt="0">
        <dgm:presLayoutVars>
          <dgm:chMax val="1"/>
          <dgm:dir/>
          <dgm:resizeHandles val="exact"/>
        </dgm:presLayoutVars>
      </dgm:prSet>
      <dgm:spPr/>
    </dgm:pt>
    <dgm:pt modelId="{8B9CDAC5-F281-5842-B269-AF62D0F75504}" type="pres">
      <dgm:prSet presAssocID="{252C8D23-FAFB-DC41-993B-8C60DC24098F}" presName="diamond" presStyleLbl="bgShp" presStyleIdx="0" presStyleCnt="1"/>
      <dgm:spPr/>
    </dgm:pt>
    <dgm:pt modelId="{6320BEED-F425-2348-815A-A0467587FFE3}" type="pres">
      <dgm:prSet presAssocID="{252C8D23-FAFB-DC41-993B-8C60DC24098F}" presName="quad1" presStyleLbl="node1" presStyleIdx="0" presStyleCnt="4" custScaleX="138449" custLinFactNeighborX="-36739" custLinFactNeighborY="-3062">
        <dgm:presLayoutVars>
          <dgm:chMax val="0"/>
          <dgm:chPref val="0"/>
          <dgm:bulletEnabled val="1"/>
        </dgm:presLayoutVars>
      </dgm:prSet>
      <dgm:spPr/>
    </dgm:pt>
    <dgm:pt modelId="{5BEC3CA0-7583-D942-A66E-8379DA20C492}" type="pres">
      <dgm:prSet presAssocID="{252C8D23-FAFB-DC41-993B-8C60DC24098F}" presName="quad2" presStyleLbl="node1" presStyleIdx="1" presStyleCnt="4" custScaleX="180193" custLinFactNeighborX="50006" custLinFactNeighborY="-4082">
        <dgm:presLayoutVars>
          <dgm:chMax val="0"/>
          <dgm:chPref val="0"/>
          <dgm:bulletEnabled val="1"/>
        </dgm:presLayoutVars>
      </dgm:prSet>
      <dgm:spPr/>
    </dgm:pt>
    <dgm:pt modelId="{D972BAA5-6F48-5D47-A605-7458E27DCE44}" type="pres">
      <dgm:prSet presAssocID="{252C8D23-FAFB-DC41-993B-8C60DC24098F}" presName="quad3" presStyleLbl="node1" presStyleIdx="2" presStyleCnt="4" custScaleX="164451" custLinFactNeighborX="-94523" custLinFactNeighborY="-511">
        <dgm:presLayoutVars>
          <dgm:chMax val="0"/>
          <dgm:chPref val="0"/>
          <dgm:bulletEnabled val="1"/>
        </dgm:presLayoutVars>
      </dgm:prSet>
      <dgm:spPr/>
    </dgm:pt>
    <dgm:pt modelId="{89DC0C36-4EB2-F24A-9051-3751E3DDA197}" type="pres">
      <dgm:prSet presAssocID="{252C8D23-FAFB-DC41-993B-8C60DC24098F}" presName="quad4" presStyleLbl="node1" presStyleIdx="3" presStyleCnt="4" custScaleX="317039" custScaleY="130858" custLinFactNeighborX="76030" custLinFactNeighborY="13267">
        <dgm:presLayoutVars>
          <dgm:chMax val="0"/>
          <dgm:chPref val="0"/>
          <dgm:bulletEnabled val="1"/>
        </dgm:presLayoutVars>
      </dgm:prSet>
      <dgm:spPr/>
    </dgm:pt>
  </dgm:ptLst>
  <dgm:cxnLst>
    <dgm:cxn modelId="{41AA3702-0994-9C4B-8338-BC5187FDC65A}" srcId="{252C8D23-FAFB-DC41-993B-8C60DC24098F}" destId="{0603B4FE-0323-7943-89EA-3FDF0ED0B537}" srcOrd="1" destOrd="0" parTransId="{2BA5DA3D-FE87-6045-9C7E-2B02D8635C17}" sibTransId="{A78575D2-917F-774E-AC18-EC3FE32DC950}"/>
    <dgm:cxn modelId="{A4E97805-A6BB-6644-92A0-5AFF7285B3B4}" srcId="{252C8D23-FAFB-DC41-993B-8C60DC24098F}" destId="{B83A271E-0881-3C46-8EA4-E4B491DB285D}" srcOrd="0" destOrd="0" parTransId="{350CB1F3-8296-3D49-9728-E730856EA8B2}" sibTransId="{5954B75E-3BD1-D34A-A656-301239ED0EF6}"/>
    <dgm:cxn modelId="{F84A860A-66BA-A74A-AB95-678B165FE9FE}" type="presOf" srcId="{B83A271E-0881-3C46-8EA4-E4B491DB285D}" destId="{6320BEED-F425-2348-815A-A0467587FFE3}" srcOrd="0" destOrd="0" presId="urn:microsoft.com/office/officeart/2005/8/layout/matrix3"/>
    <dgm:cxn modelId="{8A35D220-2F0B-5A4F-BBD9-ECD5162A91BF}" srcId="{252C8D23-FAFB-DC41-993B-8C60DC24098F}" destId="{FD3EC842-F267-5447-8242-E53193895E58}" srcOrd="2" destOrd="0" parTransId="{5D784155-377B-EF49-B3B2-1345849436B7}" sibTransId="{00FC8179-ECE6-1E4A-A284-C88844ACEE11}"/>
    <dgm:cxn modelId="{7984775D-D341-424D-A6F9-DC4A9964C758}" type="presOf" srcId="{0603B4FE-0323-7943-89EA-3FDF0ED0B537}" destId="{5BEC3CA0-7583-D942-A66E-8379DA20C492}" srcOrd="0" destOrd="0" presId="urn:microsoft.com/office/officeart/2005/8/layout/matrix3"/>
    <dgm:cxn modelId="{0411D771-7E85-2747-B6A8-A3E0D23A7FF4}" type="presOf" srcId="{252C8D23-FAFB-DC41-993B-8C60DC24098F}" destId="{253604C3-D31D-9A4A-B997-3A73CE1CFF03}" srcOrd="0" destOrd="0" presId="urn:microsoft.com/office/officeart/2005/8/layout/matrix3"/>
    <dgm:cxn modelId="{B630AC56-047F-2041-A68C-D3E39D55DA3E}" type="presOf" srcId="{FD3EC842-F267-5447-8242-E53193895E58}" destId="{D972BAA5-6F48-5D47-A605-7458E27DCE44}" srcOrd="0" destOrd="0" presId="urn:microsoft.com/office/officeart/2005/8/layout/matrix3"/>
    <dgm:cxn modelId="{87B3179F-5367-684E-B36C-45A430A63A5B}" srcId="{252C8D23-FAFB-DC41-993B-8C60DC24098F}" destId="{EE3BAD91-263C-5A46-8AAC-2018C5F1DF31}" srcOrd="3" destOrd="0" parTransId="{55011462-A256-904A-8299-0ED2EEBF107A}" sibTransId="{360825CB-E52F-8F4A-9B78-2261BDE98CB3}"/>
    <dgm:cxn modelId="{D23CE7AA-51CA-FC41-A676-043A3927C862}" type="presOf" srcId="{EE3BAD91-263C-5A46-8AAC-2018C5F1DF31}" destId="{89DC0C36-4EB2-F24A-9051-3751E3DDA197}" srcOrd="0" destOrd="0" presId="urn:microsoft.com/office/officeart/2005/8/layout/matrix3"/>
    <dgm:cxn modelId="{90AD6AAA-E709-A749-9CD1-E06D25DA6490}" type="presParOf" srcId="{253604C3-D31D-9A4A-B997-3A73CE1CFF03}" destId="{8B9CDAC5-F281-5842-B269-AF62D0F75504}" srcOrd="0" destOrd="0" presId="urn:microsoft.com/office/officeart/2005/8/layout/matrix3"/>
    <dgm:cxn modelId="{6ED9F1C3-B212-134A-9F9F-7BF49BFE0E4D}" type="presParOf" srcId="{253604C3-D31D-9A4A-B997-3A73CE1CFF03}" destId="{6320BEED-F425-2348-815A-A0467587FFE3}" srcOrd="1" destOrd="0" presId="urn:microsoft.com/office/officeart/2005/8/layout/matrix3"/>
    <dgm:cxn modelId="{393C4949-59FF-1C43-8CED-01E34C3AF597}" type="presParOf" srcId="{253604C3-D31D-9A4A-B997-3A73CE1CFF03}" destId="{5BEC3CA0-7583-D942-A66E-8379DA20C492}" srcOrd="2" destOrd="0" presId="urn:microsoft.com/office/officeart/2005/8/layout/matrix3"/>
    <dgm:cxn modelId="{1CCD07F6-C2E2-AD4B-A947-08B150362A80}" type="presParOf" srcId="{253604C3-D31D-9A4A-B997-3A73CE1CFF03}" destId="{D972BAA5-6F48-5D47-A605-7458E27DCE44}" srcOrd="3" destOrd="0" presId="urn:microsoft.com/office/officeart/2005/8/layout/matrix3"/>
    <dgm:cxn modelId="{A8F98E70-3584-6B47-A982-5406266CDAEB}" type="presParOf" srcId="{253604C3-D31D-9A4A-B997-3A73CE1CFF03}" destId="{89DC0C36-4EB2-F24A-9051-3751E3DDA197}" srcOrd="4" destOrd="0" presId="urn:microsoft.com/office/officeart/2005/8/layout/matrix3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1.xml><?xml version="1.0" encoding="utf-8"?>
<dgm:dataModel xmlns:dgm="http://schemas.openxmlformats.org/drawingml/2006/diagram" xmlns:a="http://schemas.openxmlformats.org/drawingml/2006/main">
  <dgm:ptLst>
    <dgm:pt modelId="{2FABE954-4732-AD43-91C1-96B5725272B0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CD0642B-6C88-914D-8477-997493540BFA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uy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é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e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ập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ê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ô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tin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ì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? </a:t>
          </a:r>
        </a:p>
      </dgm:t>
    </dgm:pt>
    <dgm:pt modelId="{0D839DF3-5F16-2A45-A995-7531C950358D}" type="parTrans" cxnId="{82746124-80BC-024F-83BD-5FC264C2EDD2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DDB5045B-A281-6640-80B9-010F7A563829}" type="sibTrans" cxnId="{82746124-80BC-024F-83BD-5FC264C2EDD2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CA6DA619-7DD1-2740-A548-D6E6BDA2AFDC}" type="asst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ể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iên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endParaRPr lang="en-GB" sz="20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74C0DE6F-D6C8-2841-9E02-C4836D7A46D8}" type="parTrans" cxnId="{DF7C5584-1167-1C48-937B-FBB4CED5A61A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3349B5B5-36EF-D547-B30D-6AEAE06DE238}" type="sibTrans" cxnId="{DF7C5584-1167-1C48-937B-FBB4CED5A61A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8E9C6513-A58A-014A-9C1E-A4323C56A9A1}">
      <dgm:prSet phldrT="[Text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1.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h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vi</a:t>
          </a:r>
        </a:p>
      </dgm:t>
    </dgm:pt>
    <dgm:pt modelId="{3FFDE09C-C21B-3D46-BA7E-6E7B0AF88019}" type="parTrans" cxnId="{7052C0BC-99C8-6843-AB27-FAE31E559B09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5CBED654-6647-924A-ADD2-271E2E17CE4E}" type="sibTrans" cxnId="{7052C0BC-99C8-6843-AB27-FAE31E559B09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2F1EF47C-5F47-7144-9C7E-A011553E4857}">
      <dgm:prSet phldrT="[Text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2.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m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úc</a:t>
          </a:r>
          <a:endParaRPr lang="en-GB" sz="20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FED98B98-2346-984A-B278-86A3414659BB}" type="parTrans" cxnId="{F2DD1EB3-1569-704F-87AB-6E5BC9A42342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8CDB17FA-115D-574B-A529-8794278121D4}" type="sibTrans" cxnId="{F2DD1EB3-1569-704F-87AB-6E5BC9A42342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14DEF336-97E5-284F-A227-B73EE89E5855}">
      <dgm:prSet phldrT="[Text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3.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Ứng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ử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MQH </a:t>
          </a:r>
        </a:p>
      </dgm:t>
    </dgm:pt>
    <dgm:pt modelId="{550449D4-5AAD-1349-93DF-C648098C53AD}" type="parTrans" cxnId="{806C2552-5CC3-084F-B4B7-B797E4DB9EF5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39023820-B7FE-2A48-8346-BC2FE31B59AA}" type="sibTrans" cxnId="{806C2552-5CC3-084F-B4B7-B797E4DB9EF5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405DEE90-BAC4-5142-961E-DC90417BCF7D}" type="asst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ể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iên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endParaRPr lang="en-GB" sz="20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59B0C0E2-B6F0-0D46-983A-A9C2B413A26B}" type="parTrans" cxnId="{23AA9831-70C4-F54C-AC3C-7763FE119351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4BF9330E-8697-6447-9047-C09A2BB58B79}" type="sibTrans" cxnId="{23AA9831-70C4-F54C-AC3C-7763FE119351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164C6EF8-1AE4-544A-A781-EA74276E5881}">
      <dgm:prSet phldrT="[Text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4.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n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ình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ư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uy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uy</a:t>
          </a:r>
          <a:r>
            <a:rPr lang="en-GB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hĩ</a:t>
          </a:r>
          <a:endParaRPr lang="en-GB" sz="20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0E436156-302C-714E-81CB-E24504AEA025}" type="parTrans" cxnId="{DFD3BD7F-E94E-3641-BC9E-8A69E86B1A30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253B42F3-CAA2-6C48-A5C3-BC305CE85040}" type="sibTrans" cxnId="{DFD3BD7F-E94E-3641-BC9E-8A69E86B1A30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1976D40B-FEE5-224E-8780-B0FA4404A461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át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ấy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h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vi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ẹ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ảy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a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3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ần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ối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ứa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:</a:t>
          </a:r>
        </a:p>
        <a:p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úi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ầu</a:t>
          </a:r>
          <a:endParaRPr lang="en-GB" sz="1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ả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ời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âu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ỏi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ẹ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  <a:p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ông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ẻ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uốn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ác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yêu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ương</a:t>
          </a:r>
          <a:r>
            <a:rPr lang="en-GB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gm:t>
    </dgm:pt>
    <dgm:pt modelId="{4A220B4D-E606-784B-88EB-C2CF4C6F9D51}" type="parTrans" cxnId="{A1144A52-9704-BA4D-94EE-D30093A16408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8FB05CE8-77C7-8A44-B74F-319D05AEF5B7}" type="sibTrans" cxnId="{A1144A52-9704-BA4D-94EE-D30093A16408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348FF781-262D-E242-9A60-44E6B5DF3446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ữ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oảng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h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ẹ</a:t>
          </a:r>
          <a:endParaRPr lang="en-GB" sz="16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6C3F5ADC-71C2-7447-9845-3E0C8D9B9F50}" type="parTrans" cxnId="{CA964487-5363-614A-8F07-586FE04C8A4E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92A10295-1D1B-B149-9AEB-335C1F977F5B}" type="sibTrans" cxnId="{CA964487-5363-614A-8F07-586FE04C8A4E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9D0E8A5F-EC72-7941-91BF-0D9158F18B22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ẹ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ũng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ét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ên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“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…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iêng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”,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ỏ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ăm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Nam?</a:t>
          </a:r>
        </a:p>
      </dgm:t>
    </dgm:pt>
    <dgm:pt modelId="{82C132E9-BA6E-5E40-AC8D-05055F55DA3D}" type="parTrans" cxnId="{5E6F7625-B87A-F14A-BB49-64FF393EA9E8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462DCC26-46EE-F546-B41D-ED79F0F6C933}" type="sibTrans" cxnId="{5E6F7625-B87A-F14A-BB49-64FF393EA9E8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55B5BA9B-510A-9640-9DC9-8CEBF8A04FC7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ẹ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ó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 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“…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ỗi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1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g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óm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ên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can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iệp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o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uộc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ống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ô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ấy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”</a:t>
          </a:r>
        </a:p>
      </dgm:t>
    </dgm:pt>
    <dgm:pt modelId="{1CA4142A-ECFF-5742-87F2-41DB45309413}" type="parTrans" cxnId="{63D8B354-8532-034D-8781-4DA84EDBB1FD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4600F38F-4BEB-3B42-83B2-973C5BC8D8E5}" type="sibTrans" cxnId="{63D8B354-8532-034D-8781-4DA84EDBB1FD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58FF4A13-1A0C-5B44-9E5F-6DFE66E40511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am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ến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à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ậu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ấy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“..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ích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”.</a:t>
          </a:r>
        </a:p>
      </dgm:t>
    </dgm:pt>
    <dgm:pt modelId="{46B8A4F6-EF1E-4541-A237-C4B6930917F4}" type="parTrans" cxnId="{61892ED8-86F7-5E4A-B7E5-4AEA84FAB0FF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4DD57BC5-A996-BB48-A750-6A2A5A2423F6}" type="sibTrans" cxnId="{61892ED8-86F7-5E4A-B7E5-4AEA84FAB0FF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02EE82EC-130F-4B46-8F4D-474150F6550C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am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ó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ậu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ấy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“…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ứa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ồi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ai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yêu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”.</a:t>
          </a:r>
        </a:p>
      </dgm:t>
    </dgm:pt>
    <dgm:pt modelId="{FBB51B98-3A48-304C-83E5-9261A1043BB2}" type="parTrans" cxnId="{E4A1457D-FA05-9947-84D0-8D2D5F5FAD5F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3857F564-C0CC-AE47-9EAC-4E859267FEC5}" type="sibTrans" cxnId="{E4A1457D-FA05-9947-84D0-8D2D5F5FAD5F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CA0E9F47-880A-FB45-BB23-4E6C65D75778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am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ặp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ở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ớp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ọc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ó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ậu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ấy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“…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uốn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ói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i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iều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ồi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ệ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”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ậu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ấy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ắt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ầu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ó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ắt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ầu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“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ày</a:t>
          </a:r>
          <a:r>
            <a:rPr lang="en-GB" sz="1600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” 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–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au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ó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ở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ên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ố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ối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ắt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ầu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ở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ên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im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ặng</a:t>
          </a:r>
          <a:r>
            <a:rPr lang="en-GB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gm:t>
    </dgm:pt>
    <dgm:pt modelId="{37ABD089-63B5-3A4E-B028-DC33D6F9AF14}" type="parTrans" cxnId="{910A2185-E8EB-7E4D-B4A0-70B90AEC8655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EF1AEB89-14DE-5C47-9F22-047B2F375C3A}" type="sibTrans" cxnId="{910A2185-E8EB-7E4D-B4A0-70B90AEC8655}">
      <dgm:prSet/>
      <dgm:spPr/>
      <dgm:t>
        <a:bodyPr/>
        <a:lstStyle/>
        <a:p>
          <a:endParaRPr lang="en-GB" sz="1600">
            <a:solidFill>
              <a:schemeClr val="tx1"/>
            </a:solidFill>
          </a:endParaRPr>
        </a:p>
      </dgm:t>
    </dgm:pt>
    <dgm:pt modelId="{D68165A1-A80E-5740-BC60-130692A86A0E}" type="pres">
      <dgm:prSet presAssocID="{2FABE954-4732-AD43-91C1-96B5725272B0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EC56D34E-0907-7048-BBFF-1C169DBA2551}" type="pres">
      <dgm:prSet presAssocID="{6CD0642B-6C88-914D-8477-997493540BFA}" presName="hierRoot1" presStyleCnt="0">
        <dgm:presLayoutVars>
          <dgm:hierBranch val="init"/>
        </dgm:presLayoutVars>
      </dgm:prSet>
      <dgm:spPr/>
    </dgm:pt>
    <dgm:pt modelId="{72E21055-D28D-234A-B09C-4398E45E1476}" type="pres">
      <dgm:prSet presAssocID="{6CD0642B-6C88-914D-8477-997493540BFA}" presName="rootComposite1" presStyleCnt="0"/>
      <dgm:spPr/>
    </dgm:pt>
    <dgm:pt modelId="{B1C2EE46-569F-BA4B-87E6-76B889BBDCC7}" type="pres">
      <dgm:prSet presAssocID="{6CD0642B-6C88-914D-8477-997493540BFA}" presName="rootText1" presStyleLbl="node0" presStyleIdx="0" presStyleCnt="1" custScaleX="439758" custLinFactNeighborX="-10601" custLinFactNeighborY="-8834">
        <dgm:presLayoutVars>
          <dgm:chPref val="3"/>
        </dgm:presLayoutVars>
      </dgm:prSet>
      <dgm:spPr/>
    </dgm:pt>
    <dgm:pt modelId="{7A05BF01-11F8-744B-B9D7-070AE8A5127C}" type="pres">
      <dgm:prSet presAssocID="{6CD0642B-6C88-914D-8477-997493540BFA}" presName="rootConnector1" presStyleLbl="node1" presStyleIdx="0" presStyleCnt="0"/>
      <dgm:spPr/>
    </dgm:pt>
    <dgm:pt modelId="{F6BD6285-9A0C-9540-9C9A-B4894832C58C}" type="pres">
      <dgm:prSet presAssocID="{6CD0642B-6C88-914D-8477-997493540BFA}" presName="hierChild2" presStyleCnt="0"/>
      <dgm:spPr/>
    </dgm:pt>
    <dgm:pt modelId="{5D1C6920-702C-C54E-9EE7-BC8804FE720D}" type="pres">
      <dgm:prSet presAssocID="{3FFDE09C-C21B-3D46-BA7E-6E7B0AF88019}" presName="Name37" presStyleLbl="parChTrans1D2" presStyleIdx="0" presStyleCnt="6"/>
      <dgm:spPr/>
    </dgm:pt>
    <dgm:pt modelId="{12B748B3-41FA-2E48-B607-DD01445318D7}" type="pres">
      <dgm:prSet presAssocID="{8E9C6513-A58A-014A-9C1E-A4323C56A9A1}" presName="hierRoot2" presStyleCnt="0">
        <dgm:presLayoutVars>
          <dgm:hierBranch val="init"/>
        </dgm:presLayoutVars>
      </dgm:prSet>
      <dgm:spPr/>
    </dgm:pt>
    <dgm:pt modelId="{CA2BC169-CEF1-4E45-BD55-75D4A45425C5}" type="pres">
      <dgm:prSet presAssocID="{8E9C6513-A58A-014A-9C1E-A4323C56A9A1}" presName="rootComposite" presStyleCnt="0"/>
      <dgm:spPr/>
    </dgm:pt>
    <dgm:pt modelId="{C7BB9E3E-B2C0-DB41-9272-0C149BB7A9E9}" type="pres">
      <dgm:prSet presAssocID="{8E9C6513-A58A-014A-9C1E-A4323C56A9A1}" presName="rootText" presStyleLbl="node2" presStyleIdx="0" presStyleCnt="4" custScaleX="135672">
        <dgm:presLayoutVars>
          <dgm:chPref val="3"/>
        </dgm:presLayoutVars>
      </dgm:prSet>
      <dgm:spPr/>
    </dgm:pt>
    <dgm:pt modelId="{4CB033C3-F538-594E-91A1-0BC047643E50}" type="pres">
      <dgm:prSet presAssocID="{8E9C6513-A58A-014A-9C1E-A4323C56A9A1}" presName="rootConnector" presStyleLbl="node2" presStyleIdx="0" presStyleCnt="4"/>
      <dgm:spPr/>
    </dgm:pt>
    <dgm:pt modelId="{2F3765D8-D9A8-6341-8D10-F99279BB72CC}" type="pres">
      <dgm:prSet presAssocID="{8E9C6513-A58A-014A-9C1E-A4323C56A9A1}" presName="hierChild4" presStyleCnt="0"/>
      <dgm:spPr/>
    </dgm:pt>
    <dgm:pt modelId="{F0A6260D-9AE0-1F43-8096-348232B86438}" type="pres">
      <dgm:prSet presAssocID="{4A220B4D-E606-784B-88EB-C2CF4C6F9D51}" presName="Name37" presStyleLbl="parChTrans1D3" presStyleIdx="0" presStyleCnt="7"/>
      <dgm:spPr/>
    </dgm:pt>
    <dgm:pt modelId="{2B708EBA-C537-6B41-8AF2-05459E7A3E6F}" type="pres">
      <dgm:prSet presAssocID="{1976D40B-FEE5-224E-8780-B0FA4404A461}" presName="hierRoot2" presStyleCnt="0">
        <dgm:presLayoutVars>
          <dgm:hierBranch val="init"/>
        </dgm:presLayoutVars>
      </dgm:prSet>
      <dgm:spPr/>
    </dgm:pt>
    <dgm:pt modelId="{A854F072-E212-F542-8B12-BCD7252E4077}" type="pres">
      <dgm:prSet presAssocID="{1976D40B-FEE5-224E-8780-B0FA4404A461}" presName="rootComposite" presStyleCnt="0"/>
      <dgm:spPr/>
    </dgm:pt>
    <dgm:pt modelId="{EBFD3ECD-B864-0B4A-8803-8C72D7518219}" type="pres">
      <dgm:prSet presAssocID="{1976D40B-FEE5-224E-8780-B0FA4404A461}" presName="rootText" presStyleLbl="node3" presStyleIdx="0" presStyleCnt="7" custScaleX="160531" custScaleY="185992">
        <dgm:presLayoutVars>
          <dgm:chPref val="3"/>
        </dgm:presLayoutVars>
      </dgm:prSet>
      <dgm:spPr/>
    </dgm:pt>
    <dgm:pt modelId="{E71890C4-80CF-E944-83FE-31A95B0D3607}" type="pres">
      <dgm:prSet presAssocID="{1976D40B-FEE5-224E-8780-B0FA4404A461}" presName="rootConnector" presStyleLbl="node3" presStyleIdx="0" presStyleCnt="7"/>
      <dgm:spPr/>
    </dgm:pt>
    <dgm:pt modelId="{65BAC847-D3BB-8D43-8AD4-F9DFF7939C9A}" type="pres">
      <dgm:prSet presAssocID="{1976D40B-FEE5-224E-8780-B0FA4404A461}" presName="hierChild4" presStyleCnt="0"/>
      <dgm:spPr/>
    </dgm:pt>
    <dgm:pt modelId="{4AF9302A-5AB9-2749-A3C7-AABD87C16C13}" type="pres">
      <dgm:prSet presAssocID="{1976D40B-FEE5-224E-8780-B0FA4404A461}" presName="hierChild5" presStyleCnt="0"/>
      <dgm:spPr/>
    </dgm:pt>
    <dgm:pt modelId="{F053A1D1-01B3-BC4E-9FFC-A680F12CAE77}" type="pres">
      <dgm:prSet presAssocID="{6C3F5ADC-71C2-7447-9845-3E0C8D9B9F50}" presName="Name37" presStyleLbl="parChTrans1D3" presStyleIdx="1" presStyleCnt="7"/>
      <dgm:spPr/>
    </dgm:pt>
    <dgm:pt modelId="{811AFD35-66FF-E843-BF5B-E86961C6F44F}" type="pres">
      <dgm:prSet presAssocID="{348FF781-262D-E242-9A60-44E6B5DF3446}" presName="hierRoot2" presStyleCnt="0">
        <dgm:presLayoutVars>
          <dgm:hierBranch val="init"/>
        </dgm:presLayoutVars>
      </dgm:prSet>
      <dgm:spPr/>
    </dgm:pt>
    <dgm:pt modelId="{0190CEDA-9285-FD44-8D4F-490EF8C3DEB1}" type="pres">
      <dgm:prSet presAssocID="{348FF781-262D-E242-9A60-44E6B5DF3446}" presName="rootComposite" presStyleCnt="0"/>
      <dgm:spPr/>
    </dgm:pt>
    <dgm:pt modelId="{0EE4A6C9-B86E-F247-B7C2-46393E99A74D}" type="pres">
      <dgm:prSet presAssocID="{348FF781-262D-E242-9A60-44E6B5DF3446}" presName="rootText" presStyleLbl="node3" presStyleIdx="1" presStyleCnt="7" custScaleX="136345" custScaleY="59703" custLinFactNeighborX="-1905" custLinFactNeighborY="29672">
        <dgm:presLayoutVars>
          <dgm:chPref val="3"/>
        </dgm:presLayoutVars>
      </dgm:prSet>
      <dgm:spPr/>
    </dgm:pt>
    <dgm:pt modelId="{09BFA0C9-ECCD-F641-821C-824843077A99}" type="pres">
      <dgm:prSet presAssocID="{348FF781-262D-E242-9A60-44E6B5DF3446}" presName="rootConnector" presStyleLbl="node3" presStyleIdx="1" presStyleCnt="7"/>
      <dgm:spPr/>
    </dgm:pt>
    <dgm:pt modelId="{73CFF321-D6E6-714B-9C53-826FB3CB457B}" type="pres">
      <dgm:prSet presAssocID="{348FF781-262D-E242-9A60-44E6B5DF3446}" presName="hierChild4" presStyleCnt="0"/>
      <dgm:spPr/>
    </dgm:pt>
    <dgm:pt modelId="{C33877BD-C6FD-0C4A-AE3C-ECF32780F80B}" type="pres">
      <dgm:prSet presAssocID="{348FF781-262D-E242-9A60-44E6B5DF3446}" presName="hierChild5" presStyleCnt="0"/>
      <dgm:spPr/>
    </dgm:pt>
    <dgm:pt modelId="{A6BCA0B1-6C08-954B-8399-B9F66A3D6504}" type="pres">
      <dgm:prSet presAssocID="{8E9C6513-A58A-014A-9C1E-A4323C56A9A1}" presName="hierChild5" presStyleCnt="0"/>
      <dgm:spPr/>
    </dgm:pt>
    <dgm:pt modelId="{733D43A4-D5F0-AD4F-9038-12A5A175A42E}" type="pres">
      <dgm:prSet presAssocID="{FED98B98-2346-984A-B278-86A3414659BB}" presName="Name37" presStyleLbl="parChTrans1D2" presStyleIdx="1" presStyleCnt="6"/>
      <dgm:spPr/>
    </dgm:pt>
    <dgm:pt modelId="{F05C729A-0B48-5443-BB5E-229C0CAD241E}" type="pres">
      <dgm:prSet presAssocID="{2F1EF47C-5F47-7144-9C7E-A011553E4857}" presName="hierRoot2" presStyleCnt="0">
        <dgm:presLayoutVars>
          <dgm:hierBranch val="init"/>
        </dgm:presLayoutVars>
      </dgm:prSet>
      <dgm:spPr/>
    </dgm:pt>
    <dgm:pt modelId="{158567FF-27D1-7C47-828F-190C50398D9F}" type="pres">
      <dgm:prSet presAssocID="{2F1EF47C-5F47-7144-9C7E-A011553E4857}" presName="rootComposite" presStyleCnt="0"/>
      <dgm:spPr/>
    </dgm:pt>
    <dgm:pt modelId="{897790D7-EC38-3C40-AA5A-C2A029874E8F}" type="pres">
      <dgm:prSet presAssocID="{2F1EF47C-5F47-7144-9C7E-A011553E4857}" presName="rootText" presStyleLbl="node2" presStyleIdx="1" presStyleCnt="4" custScaleX="135025">
        <dgm:presLayoutVars>
          <dgm:chPref val="3"/>
        </dgm:presLayoutVars>
      </dgm:prSet>
      <dgm:spPr/>
    </dgm:pt>
    <dgm:pt modelId="{0E600C27-D757-7740-97BF-1F440B7BCA98}" type="pres">
      <dgm:prSet presAssocID="{2F1EF47C-5F47-7144-9C7E-A011553E4857}" presName="rootConnector" presStyleLbl="node2" presStyleIdx="1" presStyleCnt="4"/>
      <dgm:spPr/>
    </dgm:pt>
    <dgm:pt modelId="{588F900B-F7F9-4E4F-BCB3-4719B4D692C1}" type="pres">
      <dgm:prSet presAssocID="{2F1EF47C-5F47-7144-9C7E-A011553E4857}" presName="hierChild4" presStyleCnt="0"/>
      <dgm:spPr/>
    </dgm:pt>
    <dgm:pt modelId="{2A760FE7-F19F-FE4D-8156-F6643E019102}" type="pres">
      <dgm:prSet presAssocID="{82C132E9-BA6E-5E40-AC8D-05055F55DA3D}" presName="Name37" presStyleLbl="parChTrans1D3" presStyleIdx="2" presStyleCnt="7"/>
      <dgm:spPr/>
    </dgm:pt>
    <dgm:pt modelId="{AC9A742A-6AD5-F443-AC61-39B821448A49}" type="pres">
      <dgm:prSet presAssocID="{9D0E8A5F-EC72-7941-91BF-0D9158F18B22}" presName="hierRoot2" presStyleCnt="0">
        <dgm:presLayoutVars>
          <dgm:hierBranch val="init"/>
        </dgm:presLayoutVars>
      </dgm:prSet>
      <dgm:spPr/>
    </dgm:pt>
    <dgm:pt modelId="{97DB3542-5373-1045-98FE-D4254323272C}" type="pres">
      <dgm:prSet presAssocID="{9D0E8A5F-EC72-7941-91BF-0D9158F18B22}" presName="rootComposite" presStyleCnt="0"/>
      <dgm:spPr/>
    </dgm:pt>
    <dgm:pt modelId="{17BC36CD-2BEB-7B44-AF0D-05EFFAA84580}" type="pres">
      <dgm:prSet presAssocID="{9D0E8A5F-EC72-7941-91BF-0D9158F18B22}" presName="rootText" presStyleLbl="node3" presStyleIdx="2" presStyleCnt="7" custScaleX="129205" custScaleY="161348">
        <dgm:presLayoutVars>
          <dgm:chPref val="3"/>
        </dgm:presLayoutVars>
      </dgm:prSet>
      <dgm:spPr/>
    </dgm:pt>
    <dgm:pt modelId="{53B13D2C-B698-794F-BCF4-50A94D7B1691}" type="pres">
      <dgm:prSet presAssocID="{9D0E8A5F-EC72-7941-91BF-0D9158F18B22}" presName="rootConnector" presStyleLbl="node3" presStyleIdx="2" presStyleCnt="7"/>
      <dgm:spPr/>
    </dgm:pt>
    <dgm:pt modelId="{E54917F7-1CF8-8749-846A-697450C449A5}" type="pres">
      <dgm:prSet presAssocID="{9D0E8A5F-EC72-7941-91BF-0D9158F18B22}" presName="hierChild4" presStyleCnt="0"/>
      <dgm:spPr/>
    </dgm:pt>
    <dgm:pt modelId="{5F0FC91E-24A5-264D-B74F-EBFA1E1A71D6}" type="pres">
      <dgm:prSet presAssocID="{9D0E8A5F-EC72-7941-91BF-0D9158F18B22}" presName="hierChild5" presStyleCnt="0"/>
      <dgm:spPr/>
    </dgm:pt>
    <dgm:pt modelId="{414CB44E-4AC5-4D42-BF56-9911F55318E0}" type="pres">
      <dgm:prSet presAssocID="{FBB51B98-3A48-304C-83E5-9261A1043BB2}" presName="Name37" presStyleLbl="parChTrans1D3" presStyleIdx="3" presStyleCnt="7"/>
      <dgm:spPr/>
    </dgm:pt>
    <dgm:pt modelId="{E1C42933-477F-7F49-A5A1-C9C58832B880}" type="pres">
      <dgm:prSet presAssocID="{02EE82EC-130F-4B46-8F4D-474150F6550C}" presName="hierRoot2" presStyleCnt="0">
        <dgm:presLayoutVars>
          <dgm:hierBranch val="init"/>
        </dgm:presLayoutVars>
      </dgm:prSet>
      <dgm:spPr/>
    </dgm:pt>
    <dgm:pt modelId="{5F93A6D9-26EC-424C-B1F4-CA946A463AAB}" type="pres">
      <dgm:prSet presAssocID="{02EE82EC-130F-4B46-8F4D-474150F6550C}" presName="rootComposite" presStyleCnt="0"/>
      <dgm:spPr/>
    </dgm:pt>
    <dgm:pt modelId="{18A70079-B1FE-254C-86EC-384AFC7ACC17}" type="pres">
      <dgm:prSet presAssocID="{02EE82EC-130F-4B46-8F4D-474150F6550C}" presName="rootText" presStyleLbl="node3" presStyleIdx="3" presStyleCnt="7" custScaleY="142969">
        <dgm:presLayoutVars>
          <dgm:chPref val="3"/>
        </dgm:presLayoutVars>
      </dgm:prSet>
      <dgm:spPr/>
    </dgm:pt>
    <dgm:pt modelId="{904F4C81-3BB6-AF42-B940-2C094FB844F7}" type="pres">
      <dgm:prSet presAssocID="{02EE82EC-130F-4B46-8F4D-474150F6550C}" presName="rootConnector" presStyleLbl="node3" presStyleIdx="3" presStyleCnt="7"/>
      <dgm:spPr/>
    </dgm:pt>
    <dgm:pt modelId="{7F4E0C43-EFFF-534D-B9EB-5959B331FA66}" type="pres">
      <dgm:prSet presAssocID="{02EE82EC-130F-4B46-8F4D-474150F6550C}" presName="hierChild4" presStyleCnt="0"/>
      <dgm:spPr/>
    </dgm:pt>
    <dgm:pt modelId="{F56E8578-71FB-4742-87EA-7D3650FD2744}" type="pres">
      <dgm:prSet presAssocID="{02EE82EC-130F-4B46-8F4D-474150F6550C}" presName="hierChild5" presStyleCnt="0"/>
      <dgm:spPr/>
    </dgm:pt>
    <dgm:pt modelId="{A2CAE005-1BDB-684F-AD50-2F6804E71535}" type="pres">
      <dgm:prSet presAssocID="{2F1EF47C-5F47-7144-9C7E-A011553E4857}" presName="hierChild5" presStyleCnt="0"/>
      <dgm:spPr/>
    </dgm:pt>
    <dgm:pt modelId="{B6390270-C5E1-1B4D-8671-AAEB26426405}" type="pres">
      <dgm:prSet presAssocID="{550449D4-5AAD-1349-93DF-C648098C53AD}" presName="Name37" presStyleLbl="parChTrans1D2" presStyleIdx="2" presStyleCnt="6"/>
      <dgm:spPr/>
    </dgm:pt>
    <dgm:pt modelId="{3C894616-2972-0E4A-9107-67439CBB8ECF}" type="pres">
      <dgm:prSet presAssocID="{14DEF336-97E5-284F-A227-B73EE89E5855}" presName="hierRoot2" presStyleCnt="0">
        <dgm:presLayoutVars>
          <dgm:hierBranch val="init"/>
        </dgm:presLayoutVars>
      </dgm:prSet>
      <dgm:spPr/>
    </dgm:pt>
    <dgm:pt modelId="{D0E83106-E4AF-C147-BA16-8675A8BAA882}" type="pres">
      <dgm:prSet presAssocID="{14DEF336-97E5-284F-A227-B73EE89E5855}" presName="rootComposite" presStyleCnt="0"/>
      <dgm:spPr/>
    </dgm:pt>
    <dgm:pt modelId="{E7E61E33-4F07-8545-B483-E1C0872C0264}" type="pres">
      <dgm:prSet presAssocID="{14DEF336-97E5-284F-A227-B73EE89E5855}" presName="rootText" presStyleLbl="node2" presStyleIdx="2" presStyleCnt="4" custScaleX="127401">
        <dgm:presLayoutVars>
          <dgm:chPref val="3"/>
        </dgm:presLayoutVars>
      </dgm:prSet>
      <dgm:spPr/>
    </dgm:pt>
    <dgm:pt modelId="{8D89F466-B9D6-4F40-A353-D0E8DA268772}" type="pres">
      <dgm:prSet presAssocID="{14DEF336-97E5-284F-A227-B73EE89E5855}" presName="rootConnector" presStyleLbl="node2" presStyleIdx="2" presStyleCnt="4"/>
      <dgm:spPr/>
    </dgm:pt>
    <dgm:pt modelId="{9C2FA65F-AD3B-CF4E-A821-055C98A72C5B}" type="pres">
      <dgm:prSet presAssocID="{14DEF336-97E5-284F-A227-B73EE89E5855}" presName="hierChild4" presStyleCnt="0"/>
      <dgm:spPr/>
    </dgm:pt>
    <dgm:pt modelId="{3F3ED76A-0F5C-D84F-82CF-771526FEFBA8}" type="pres">
      <dgm:prSet presAssocID="{1CA4142A-ECFF-5742-87F2-41DB45309413}" presName="Name37" presStyleLbl="parChTrans1D3" presStyleIdx="4" presStyleCnt="7"/>
      <dgm:spPr/>
    </dgm:pt>
    <dgm:pt modelId="{6BE24433-EA16-2642-A1CE-B49219792D57}" type="pres">
      <dgm:prSet presAssocID="{55B5BA9B-510A-9640-9DC9-8CEBF8A04FC7}" presName="hierRoot2" presStyleCnt="0">
        <dgm:presLayoutVars>
          <dgm:hierBranch val="init"/>
        </dgm:presLayoutVars>
      </dgm:prSet>
      <dgm:spPr/>
    </dgm:pt>
    <dgm:pt modelId="{3A2BF848-CD4F-994E-8F6C-DC9E324609FC}" type="pres">
      <dgm:prSet presAssocID="{55B5BA9B-510A-9640-9DC9-8CEBF8A04FC7}" presName="rootComposite" presStyleCnt="0"/>
      <dgm:spPr/>
    </dgm:pt>
    <dgm:pt modelId="{68BB586D-D5DC-B24E-817B-A7FD18FD4DB0}" type="pres">
      <dgm:prSet presAssocID="{55B5BA9B-510A-9640-9DC9-8CEBF8A04FC7}" presName="rootText" presStyleLbl="node3" presStyleIdx="4" presStyleCnt="7" custScaleX="120488" custScaleY="133707">
        <dgm:presLayoutVars>
          <dgm:chPref val="3"/>
        </dgm:presLayoutVars>
      </dgm:prSet>
      <dgm:spPr/>
    </dgm:pt>
    <dgm:pt modelId="{D37B52C3-E4F8-3946-82BF-4BC3ADB31E6A}" type="pres">
      <dgm:prSet presAssocID="{55B5BA9B-510A-9640-9DC9-8CEBF8A04FC7}" presName="rootConnector" presStyleLbl="node3" presStyleIdx="4" presStyleCnt="7"/>
      <dgm:spPr/>
    </dgm:pt>
    <dgm:pt modelId="{EE343ED9-0429-A249-8FB0-B371CDC643F6}" type="pres">
      <dgm:prSet presAssocID="{55B5BA9B-510A-9640-9DC9-8CEBF8A04FC7}" presName="hierChild4" presStyleCnt="0"/>
      <dgm:spPr/>
    </dgm:pt>
    <dgm:pt modelId="{42CF9306-2F98-0A47-A404-AC84610BEF61}" type="pres">
      <dgm:prSet presAssocID="{55B5BA9B-510A-9640-9DC9-8CEBF8A04FC7}" presName="hierChild5" presStyleCnt="0"/>
      <dgm:spPr/>
    </dgm:pt>
    <dgm:pt modelId="{2114FF47-2B2D-FD4F-8C50-04F8FD58B2EB}" type="pres">
      <dgm:prSet presAssocID="{46B8A4F6-EF1E-4541-A237-C4B6930917F4}" presName="Name37" presStyleLbl="parChTrans1D3" presStyleIdx="5" presStyleCnt="7"/>
      <dgm:spPr/>
    </dgm:pt>
    <dgm:pt modelId="{5B6C2243-EB45-9C4B-B0A2-673BF55160DA}" type="pres">
      <dgm:prSet presAssocID="{58FF4A13-1A0C-5B44-9E5F-6DFE66E40511}" presName="hierRoot2" presStyleCnt="0">
        <dgm:presLayoutVars>
          <dgm:hierBranch val="init"/>
        </dgm:presLayoutVars>
      </dgm:prSet>
      <dgm:spPr/>
    </dgm:pt>
    <dgm:pt modelId="{52ABEA27-0B0A-D842-983A-2463B7FFA8D6}" type="pres">
      <dgm:prSet presAssocID="{58FF4A13-1A0C-5B44-9E5F-6DFE66E40511}" presName="rootComposite" presStyleCnt="0"/>
      <dgm:spPr/>
    </dgm:pt>
    <dgm:pt modelId="{6D6669F6-23B2-2146-A6EE-1CCB2A3674AA}" type="pres">
      <dgm:prSet presAssocID="{58FF4A13-1A0C-5B44-9E5F-6DFE66E40511}" presName="rootText" presStyleLbl="node3" presStyleIdx="5" presStyleCnt="7" custScaleX="119971" custScaleY="105051">
        <dgm:presLayoutVars>
          <dgm:chPref val="3"/>
        </dgm:presLayoutVars>
      </dgm:prSet>
      <dgm:spPr/>
    </dgm:pt>
    <dgm:pt modelId="{4C794321-20BC-6C43-A4F2-C2FD9814A792}" type="pres">
      <dgm:prSet presAssocID="{58FF4A13-1A0C-5B44-9E5F-6DFE66E40511}" presName="rootConnector" presStyleLbl="node3" presStyleIdx="5" presStyleCnt="7"/>
      <dgm:spPr/>
    </dgm:pt>
    <dgm:pt modelId="{DB7DE879-1C6A-094D-9180-900F23565500}" type="pres">
      <dgm:prSet presAssocID="{58FF4A13-1A0C-5B44-9E5F-6DFE66E40511}" presName="hierChild4" presStyleCnt="0"/>
      <dgm:spPr/>
    </dgm:pt>
    <dgm:pt modelId="{87480F40-D260-DB43-88DC-0155C31393C6}" type="pres">
      <dgm:prSet presAssocID="{58FF4A13-1A0C-5B44-9E5F-6DFE66E40511}" presName="hierChild5" presStyleCnt="0"/>
      <dgm:spPr/>
    </dgm:pt>
    <dgm:pt modelId="{1975B48C-F949-A34A-AEB2-B3A835451523}" type="pres">
      <dgm:prSet presAssocID="{14DEF336-97E5-284F-A227-B73EE89E5855}" presName="hierChild5" presStyleCnt="0"/>
      <dgm:spPr/>
    </dgm:pt>
    <dgm:pt modelId="{6B38FF74-9455-934E-A38E-2715111CCCB5}" type="pres">
      <dgm:prSet presAssocID="{0E436156-302C-714E-81CB-E24504AEA025}" presName="Name37" presStyleLbl="parChTrans1D2" presStyleIdx="3" presStyleCnt="6"/>
      <dgm:spPr/>
    </dgm:pt>
    <dgm:pt modelId="{909C4E94-132D-F040-82BF-393717685D0F}" type="pres">
      <dgm:prSet presAssocID="{164C6EF8-1AE4-544A-A781-EA74276E5881}" presName="hierRoot2" presStyleCnt="0">
        <dgm:presLayoutVars>
          <dgm:hierBranch val="init"/>
        </dgm:presLayoutVars>
      </dgm:prSet>
      <dgm:spPr/>
    </dgm:pt>
    <dgm:pt modelId="{06E56170-0ADA-8847-ACFC-9FF22EC4F3E5}" type="pres">
      <dgm:prSet presAssocID="{164C6EF8-1AE4-544A-A781-EA74276E5881}" presName="rootComposite" presStyleCnt="0"/>
      <dgm:spPr/>
    </dgm:pt>
    <dgm:pt modelId="{C1A33E56-2793-E04F-9734-1AE95F405D11}" type="pres">
      <dgm:prSet presAssocID="{164C6EF8-1AE4-544A-A781-EA74276E5881}" presName="rootText" presStyleLbl="node2" presStyleIdx="3" presStyleCnt="4" custScaleX="132255">
        <dgm:presLayoutVars>
          <dgm:chPref val="3"/>
        </dgm:presLayoutVars>
      </dgm:prSet>
      <dgm:spPr/>
    </dgm:pt>
    <dgm:pt modelId="{FAC503F6-65B6-EF49-BAAB-80C8831F8361}" type="pres">
      <dgm:prSet presAssocID="{164C6EF8-1AE4-544A-A781-EA74276E5881}" presName="rootConnector" presStyleLbl="node2" presStyleIdx="3" presStyleCnt="4"/>
      <dgm:spPr/>
    </dgm:pt>
    <dgm:pt modelId="{9469448A-91A1-964E-AB4C-07751D3C4C76}" type="pres">
      <dgm:prSet presAssocID="{164C6EF8-1AE4-544A-A781-EA74276E5881}" presName="hierChild4" presStyleCnt="0"/>
      <dgm:spPr/>
    </dgm:pt>
    <dgm:pt modelId="{D5839ECE-2F53-7C4A-8FE0-86FC98DA289A}" type="pres">
      <dgm:prSet presAssocID="{37ABD089-63B5-3A4E-B028-DC33D6F9AF14}" presName="Name37" presStyleLbl="parChTrans1D3" presStyleIdx="6" presStyleCnt="7"/>
      <dgm:spPr/>
    </dgm:pt>
    <dgm:pt modelId="{FE8416A8-2EF3-E743-A6B9-6487F0173EC9}" type="pres">
      <dgm:prSet presAssocID="{CA0E9F47-880A-FB45-BB23-4E6C65D75778}" presName="hierRoot2" presStyleCnt="0">
        <dgm:presLayoutVars>
          <dgm:hierBranch val="init"/>
        </dgm:presLayoutVars>
      </dgm:prSet>
      <dgm:spPr/>
    </dgm:pt>
    <dgm:pt modelId="{E4FAC21D-0D73-D044-82DE-EA48A1D89BD1}" type="pres">
      <dgm:prSet presAssocID="{CA0E9F47-880A-FB45-BB23-4E6C65D75778}" presName="rootComposite" presStyleCnt="0"/>
      <dgm:spPr/>
    </dgm:pt>
    <dgm:pt modelId="{59ED0169-F0D4-7044-9325-9901DDF62D03}" type="pres">
      <dgm:prSet presAssocID="{CA0E9F47-880A-FB45-BB23-4E6C65D75778}" presName="rootText" presStyleLbl="node3" presStyleIdx="6" presStyleCnt="7" custScaleX="156667" custScaleY="238050">
        <dgm:presLayoutVars>
          <dgm:chPref val="3"/>
        </dgm:presLayoutVars>
      </dgm:prSet>
      <dgm:spPr/>
    </dgm:pt>
    <dgm:pt modelId="{753609E8-6637-1646-B02C-23ED873EF2BD}" type="pres">
      <dgm:prSet presAssocID="{CA0E9F47-880A-FB45-BB23-4E6C65D75778}" presName="rootConnector" presStyleLbl="node3" presStyleIdx="6" presStyleCnt="7"/>
      <dgm:spPr/>
    </dgm:pt>
    <dgm:pt modelId="{443A2E9E-95AA-7242-85FB-71D887DF4560}" type="pres">
      <dgm:prSet presAssocID="{CA0E9F47-880A-FB45-BB23-4E6C65D75778}" presName="hierChild4" presStyleCnt="0"/>
      <dgm:spPr/>
    </dgm:pt>
    <dgm:pt modelId="{7D18744F-909B-8E44-8ED9-A45DB7D94983}" type="pres">
      <dgm:prSet presAssocID="{CA0E9F47-880A-FB45-BB23-4E6C65D75778}" presName="hierChild5" presStyleCnt="0"/>
      <dgm:spPr/>
    </dgm:pt>
    <dgm:pt modelId="{FC428C7C-E66A-DD47-AC74-5DB49F011709}" type="pres">
      <dgm:prSet presAssocID="{164C6EF8-1AE4-544A-A781-EA74276E5881}" presName="hierChild5" presStyleCnt="0"/>
      <dgm:spPr/>
    </dgm:pt>
    <dgm:pt modelId="{23B198BA-3CC7-C34C-B596-726EF65891EB}" type="pres">
      <dgm:prSet presAssocID="{6CD0642B-6C88-914D-8477-997493540BFA}" presName="hierChild3" presStyleCnt="0"/>
      <dgm:spPr/>
    </dgm:pt>
    <dgm:pt modelId="{1D53F555-DEC2-194F-AFAA-42110C82DF29}" type="pres">
      <dgm:prSet presAssocID="{74C0DE6F-D6C8-2841-9E02-C4836D7A46D8}" presName="Name111" presStyleLbl="parChTrans1D2" presStyleIdx="4" presStyleCnt="6"/>
      <dgm:spPr/>
    </dgm:pt>
    <dgm:pt modelId="{54814DE8-94DB-9A4A-A465-27902E58F9D4}" type="pres">
      <dgm:prSet presAssocID="{CA6DA619-7DD1-2740-A548-D6E6BDA2AFDC}" presName="hierRoot3" presStyleCnt="0">
        <dgm:presLayoutVars>
          <dgm:hierBranch val="init"/>
        </dgm:presLayoutVars>
      </dgm:prSet>
      <dgm:spPr/>
    </dgm:pt>
    <dgm:pt modelId="{0E193917-CF44-E449-BFBB-4FD1B5AC11EF}" type="pres">
      <dgm:prSet presAssocID="{CA6DA619-7DD1-2740-A548-D6E6BDA2AFDC}" presName="rootComposite3" presStyleCnt="0"/>
      <dgm:spPr/>
    </dgm:pt>
    <dgm:pt modelId="{73FCA5CA-2118-AE40-BF5C-8D7B2EE5DD22}" type="pres">
      <dgm:prSet presAssocID="{CA6DA619-7DD1-2740-A548-D6E6BDA2AFDC}" presName="rootText3" presStyleLbl="asst1" presStyleIdx="0" presStyleCnt="2" custScaleX="213388">
        <dgm:presLayoutVars>
          <dgm:chPref val="3"/>
        </dgm:presLayoutVars>
      </dgm:prSet>
      <dgm:spPr/>
    </dgm:pt>
    <dgm:pt modelId="{A6317C2D-E487-EC48-8469-B825165B0DFB}" type="pres">
      <dgm:prSet presAssocID="{CA6DA619-7DD1-2740-A548-D6E6BDA2AFDC}" presName="rootConnector3" presStyleLbl="asst1" presStyleIdx="0" presStyleCnt="2"/>
      <dgm:spPr/>
    </dgm:pt>
    <dgm:pt modelId="{3F1E215E-ED9B-9148-A457-11AE4989BEB9}" type="pres">
      <dgm:prSet presAssocID="{CA6DA619-7DD1-2740-A548-D6E6BDA2AFDC}" presName="hierChild6" presStyleCnt="0"/>
      <dgm:spPr/>
    </dgm:pt>
    <dgm:pt modelId="{FBDDA96F-01CB-8B44-840A-AE457F54A2C6}" type="pres">
      <dgm:prSet presAssocID="{CA6DA619-7DD1-2740-A548-D6E6BDA2AFDC}" presName="hierChild7" presStyleCnt="0"/>
      <dgm:spPr/>
    </dgm:pt>
    <dgm:pt modelId="{2DD0002D-7F9B-8E4E-9922-5B45A716BFFF}" type="pres">
      <dgm:prSet presAssocID="{59B0C0E2-B6F0-0D46-983A-A9C2B413A26B}" presName="Name111" presStyleLbl="parChTrans1D2" presStyleIdx="5" presStyleCnt="6"/>
      <dgm:spPr/>
    </dgm:pt>
    <dgm:pt modelId="{C32E713C-A0C8-B743-89E2-A828C37FB784}" type="pres">
      <dgm:prSet presAssocID="{405DEE90-BAC4-5142-961E-DC90417BCF7D}" presName="hierRoot3" presStyleCnt="0">
        <dgm:presLayoutVars>
          <dgm:hierBranch val="init"/>
        </dgm:presLayoutVars>
      </dgm:prSet>
      <dgm:spPr/>
    </dgm:pt>
    <dgm:pt modelId="{2C48C126-C9FF-D545-BF7E-E9DA99E3AA7D}" type="pres">
      <dgm:prSet presAssocID="{405DEE90-BAC4-5142-961E-DC90417BCF7D}" presName="rootComposite3" presStyleCnt="0"/>
      <dgm:spPr/>
    </dgm:pt>
    <dgm:pt modelId="{E01239BD-21F8-9044-8D3B-19A1D8B4D8D7}" type="pres">
      <dgm:prSet presAssocID="{405DEE90-BAC4-5142-961E-DC90417BCF7D}" presName="rootText3" presStyleLbl="asst1" presStyleIdx="1" presStyleCnt="2" custScaleX="198850">
        <dgm:presLayoutVars>
          <dgm:chPref val="3"/>
        </dgm:presLayoutVars>
      </dgm:prSet>
      <dgm:spPr/>
    </dgm:pt>
    <dgm:pt modelId="{F0F96C52-B351-B842-A06E-499DF4A2E326}" type="pres">
      <dgm:prSet presAssocID="{405DEE90-BAC4-5142-961E-DC90417BCF7D}" presName="rootConnector3" presStyleLbl="asst1" presStyleIdx="1" presStyleCnt="2"/>
      <dgm:spPr/>
    </dgm:pt>
    <dgm:pt modelId="{C108F3E3-740F-6D40-8E36-8A6233932A8A}" type="pres">
      <dgm:prSet presAssocID="{405DEE90-BAC4-5142-961E-DC90417BCF7D}" presName="hierChild6" presStyleCnt="0"/>
      <dgm:spPr/>
    </dgm:pt>
    <dgm:pt modelId="{CBD583C9-D8AE-6C4D-95FB-B746ADBD4FE6}" type="pres">
      <dgm:prSet presAssocID="{405DEE90-BAC4-5142-961E-DC90417BCF7D}" presName="hierChild7" presStyleCnt="0"/>
      <dgm:spPr/>
    </dgm:pt>
  </dgm:ptLst>
  <dgm:cxnLst>
    <dgm:cxn modelId="{A1A18514-81C6-EC4E-AF9D-2AB7B7AF6393}" type="presOf" srcId="{CA6DA619-7DD1-2740-A548-D6E6BDA2AFDC}" destId="{A6317C2D-E487-EC48-8469-B825165B0DFB}" srcOrd="1" destOrd="0" presId="urn:microsoft.com/office/officeart/2005/8/layout/orgChart1"/>
    <dgm:cxn modelId="{82746124-80BC-024F-83BD-5FC264C2EDD2}" srcId="{2FABE954-4732-AD43-91C1-96B5725272B0}" destId="{6CD0642B-6C88-914D-8477-997493540BFA}" srcOrd="0" destOrd="0" parTransId="{0D839DF3-5F16-2A45-A995-7531C950358D}" sibTransId="{DDB5045B-A281-6640-80B9-010F7A563829}"/>
    <dgm:cxn modelId="{5E6F7625-B87A-F14A-BB49-64FF393EA9E8}" srcId="{2F1EF47C-5F47-7144-9C7E-A011553E4857}" destId="{9D0E8A5F-EC72-7941-91BF-0D9158F18B22}" srcOrd="0" destOrd="0" parTransId="{82C132E9-BA6E-5E40-AC8D-05055F55DA3D}" sibTransId="{462DCC26-46EE-F546-B41D-ED79F0F6C933}"/>
    <dgm:cxn modelId="{FCEF5D2D-2DDE-064F-AC9B-8BEA4BFCDAD7}" type="presOf" srcId="{164C6EF8-1AE4-544A-A781-EA74276E5881}" destId="{C1A33E56-2793-E04F-9734-1AE95F405D11}" srcOrd="0" destOrd="0" presId="urn:microsoft.com/office/officeart/2005/8/layout/orgChart1"/>
    <dgm:cxn modelId="{20080B2F-0A49-9548-A75D-5DEF3575FC3D}" type="presOf" srcId="{9D0E8A5F-EC72-7941-91BF-0D9158F18B22}" destId="{53B13D2C-B698-794F-BCF4-50A94D7B1691}" srcOrd="1" destOrd="0" presId="urn:microsoft.com/office/officeart/2005/8/layout/orgChart1"/>
    <dgm:cxn modelId="{23AA9831-70C4-F54C-AC3C-7763FE119351}" srcId="{6CD0642B-6C88-914D-8477-997493540BFA}" destId="{405DEE90-BAC4-5142-961E-DC90417BCF7D}" srcOrd="1" destOrd="0" parTransId="{59B0C0E2-B6F0-0D46-983A-A9C2B413A26B}" sibTransId="{4BF9330E-8697-6447-9047-C09A2BB58B79}"/>
    <dgm:cxn modelId="{D0E05A35-C106-7E43-B45A-ABAB345B68A7}" type="presOf" srcId="{82C132E9-BA6E-5E40-AC8D-05055F55DA3D}" destId="{2A760FE7-F19F-FE4D-8156-F6643E019102}" srcOrd="0" destOrd="0" presId="urn:microsoft.com/office/officeart/2005/8/layout/orgChart1"/>
    <dgm:cxn modelId="{2049C838-A118-F842-A405-AAFFD2804DB0}" type="presOf" srcId="{0E436156-302C-714E-81CB-E24504AEA025}" destId="{6B38FF74-9455-934E-A38E-2715111CCCB5}" srcOrd="0" destOrd="0" presId="urn:microsoft.com/office/officeart/2005/8/layout/orgChart1"/>
    <dgm:cxn modelId="{88ADDC40-1E45-5847-93B5-2AEBA65C52E5}" type="presOf" srcId="{55B5BA9B-510A-9640-9DC9-8CEBF8A04FC7}" destId="{D37B52C3-E4F8-3946-82BF-4BC3ADB31E6A}" srcOrd="1" destOrd="0" presId="urn:microsoft.com/office/officeart/2005/8/layout/orgChart1"/>
    <dgm:cxn modelId="{E03E575D-EE8E-9D45-A724-7842EA73BFCF}" type="presOf" srcId="{14DEF336-97E5-284F-A227-B73EE89E5855}" destId="{8D89F466-B9D6-4F40-A353-D0E8DA268772}" srcOrd="1" destOrd="0" presId="urn:microsoft.com/office/officeart/2005/8/layout/orgChart1"/>
    <dgm:cxn modelId="{37EE8A62-50D3-BF40-9E48-40F8D66D0B34}" type="presOf" srcId="{348FF781-262D-E242-9A60-44E6B5DF3446}" destId="{0EE4A6C9-B86E-F247-B7C2-46393E99A74D}" srcOrd="0" destOrd="0" presId="urn:microsoft.com/office/officeart/2005/8/layout/orgChart1"/>
    <dgm:cxn modelId="{A581FB42-6F04-5846-BF6D-F60E69A617C9}" type="presOf" srcId="{FED98B98-2346-984A-B278-86A3414659BB}" destId="{733D43A4-D5F0-AD4F-9038-12A5A175A42E}" srcOrd="0" destOrd="0" presId="urn:microsoft.com/office/officeart/2005/8/layout/orgChart1"/>
    <dgm:cxn modelId="{302A1446-6A86-0E43-A24F-E5283BEEBCCC}" type="presOf" srcId="{55B5BA9B-510A-9640-9DC9-8CEBF8A04FC7}" destId="{68BB586D-D5DC-B24E-817B-A7FD18FD4DB0}" srcOrd="0" destOrd="0" presId="urn:microsoft.com/office/officeart/2005/8/layout/orgChart1"/>
    <dgm:cxn modelId="{6C8C524B-D4B8-2546-84A1-E784A8CD8C23}" type="presOf" srcId="{6C3F5ADC-71C2-7447-9845-3E0C8D9B9F50}" destId="{F053A1D1-01B3-BC4E-9FFC-A680F12CAE77}" srcOrd="0" destOrd="0" presId="urn:microsoft.com/office/officeart/2005/8/layout/orgChart1"/>
    <dgm:cxn modelId="{B617806D-87BF-4741-B8C9-8F5322417793}" type="presOf" srcId="{14DEF336-97E5-284F-A227-B73EE89E5855}" destId="{E7E61E33-4F07-8545-B483-E1C0872C0264}" srcOrd="0" destOrd="0" presId="urn:microsoft.com/office/officeart/2005/8/layout/orgChart1"/>
    <dgm:cxn modelId="{806C2552-5CC3-084F-B4B7-B797E4DB9EF5}" srcId="{6CD0642B-6C88-914D-8477-997493540BFA}" destId="{14DEF336-97E5-284F-A227-B73EE89E5855}" srcOrd="4" destOrd="0" parTransId="{550449D4-5AAD-1349-93DF-C648098C53AD}" sibTransId="{39023820-B7FE-2A48-8346-BC2FE31B59AA}"/>
    <dgm:cxn modelId="{A1144A52-9704-BA4D-94EE-D30093A16408}" srcId="{8E9C6513-A58A-014A-9C1E-A4323C56A9A1}" destId="{1976D40B-FEE5-224E-8780-B0FA4404A461}" srcOrd="0" destOrd="0" parTransId="{4A220B4D-E606-784B-88EB-C2CF4C6F9D51}" sibTransId="{8FB05CE8-77C7-8A44-B74F-319D05AEF5B7}"/>
    <dgm:cxn modelId="{9FFD1473-4004-2544-80FE-929315C84729}" type="presOf" srcId="{6CD0642B-6C88-914D-8477-997493540BFA}" destId="{B1C2EE46-569F-BA4B-87E6-76B889BBDCC7}" srcOrd="0" destOrd="0" presId="urn:microsoft.com/office/officeart/2005/8/layout/orgChart1"/>
    <dgm:cxn modelId="{38D74753-6D83-5C43-BF41-3CFB0B4E2E84}" type="presOf" srcId="{1CA4142A-ECFF-5742-87F2-41DB45309413}" destId="{3F3ED76A-0F5C-D84F-82CF-771526FEFBA8}" srcOrd="0" destOrd="0" presId="urn:microsoft.com/office/officeart/2005/8/layout/orgChart1"/>
    <dgm:cxn modelId="{63D8B354-8532-034D-8781-4DA84EDBB1FD}" srcId="{14DEF336-97E5-284F-A227-B73EE89E5855}" destId="{55B5BA9B-510A-9640-9DC9-8CEBF8A04FC7}" srcOrd="0" destOrd="0" parTransId="{1CA4142A-ECFF-5742-87F2-41DB45309413}" sibTransId="{4600F38F-4BEB-3B42-83B2-973C5BC8D8E5}"/>
    <dgm:cxn modelId="{99234D55-ECBC-AF44-BE70-CA3C3E19DAE0}" type="presOf" srcId="{4A220B4D-E606-784B-88EB-C2CF4C6F9D51}" destId="{F0A6260D-9AE0-1F43-8096-348232B86438}" srcOrd="0" destOrd="0" presId="urn:microsoft.com/office/officeart/2005/8/layout/orgChart1"/>
    <dgm:cxn modelId="{A6A76376-7456-2942-884F-1DBD926C5EED}" type="presOf" srcId="{1976D40B-FEE5-224E-8780-B0FA4404A461}" destId="{E71890C4-80CF-E944-83FE-31A95B0D3607}" srcOrd="1" destOrd="0" presId="urn:microsoft.com/office/officeart/2005/8/layout/orgChart1"/>
    <dgm:cxn modelId="{BB81F577-0A26-B544-839F-17A2E3839747}" type="presOf" srcId="{3FFDE09C-C21B-3D46-BA7E-6E7B0AF88019}" destId="{5D1C6920-702C-C54E-9EE7-BC8804FE720D}" srcOrd="0" destOrd="0" presId="urn:microsoft.com/office/officeart/2005/8/layout/orgChart1"/>
    <dgm:cxn modelId="{B588BF78-522C-464A-A88C-D25E8BF63029}" type="presOf" srcId="{2F1EF47C-5F47-7144-9C7E-A011553E4857}" destId="{0E600C27-D757-7740-97BF-1F440B7BCA98}" srcOrd="1" destOrd="0" presId="urn:microsoft.com/office/officeart/2005/8/layout/orgChart1"/>
    <dgm:cxn modelId="{F3A2EE78-750D-AD47-9A8C-3C59E70CB65A}" type="presOf" srcId="{348FF781-262D-E242-9A60-44E6B5DF3446}" destId="{09BFA0C9-ECCD-F641-821C-824843077A99}" srcOrd="1" destOrd="0" presId="urn:microsoft.com/office/officeart/2005/8/layout/orgChart1"/>
    <dgm:cxn modelId="{E4A1457D-FA05-9947-84D0-8D2D5F5FAD5F}" srcId="{2F1EF47C-5F47-7144-9C7E-A011553E4857}" destId="{02EE82EC-130F-4B46-8F4D-474150F6550C}" srcOrd="1" destOrd="0" parTransId="{FBB51B98-3A48-304C-83E5-9261A1043BB2}" sibTransId="{3857F564-C0CC-AE47-9EAC-4E859267FEC5}"/>
    <dgm:cxn modelId="{FF4F5F7E-75E4-7A4A-B640-06434AFE5269}" type="presOf" srcId="{58FF4A13-1A0C-5B44-9E5F-6DFE66E40511}" destId="{4C794321-20BC-6C43-A4F2-C2FD9814A792}" srcOrd="1" destOrd="0" presId="urn:microsoft.com/office/officeart/2005/8/layout/orgChart1"/>
    <dgm:cxn modelId="{DFD3BD7F-E94E-3641-BC9E-8A69E86B1A30}" srcId="{6CD0642B-6C88-914D-8477-997493540BFA}" destId="{164C6EF8-1AE4-544A-A781-EA74276E5881}" srcOrd="5" destOrd="0" parTransId="{0E436156-302C-714E-81CB-E24504AEA025}" sibTransId="{253B42F3-CAA2-6C48-A5C3-BC305CE85040}"/>
    <dgm:cxn modelId="{DF7C5584-1167-1C48-937B-FBB4CED5A61A}" srcId="{6CD0642B-6C88-914D-8477-997493540BFA}" destId="{CA6DA619-7DD1-2740-A548-D6E6BDA2AFDC}" srcOrd="0" destOrd="0" parTransId="{74C0DE6F-D6C8-2841-9E02-C4836D7A46D8}" sibTransId="{3349B5B5-36EF-D547-B30D-6AEAE06DE238}"/>
    <dgm:cxn modelId="{910A2185-E8EB-7E4D-B4A0-70B90AEC8655}" srcId="{164C6EF8-1AE4-544A-A781-EA74276E5881}" destId="{CA0E9F47-880A-FB45-BB23-4E6C65D75778}" srcOrd="0" destOrd="0" parTransId="{37ABD089-63B5-3A4E-B028-DC33D6F9AF14}" sibTransId="{EF1AEB89-14DE-5C47-9F22-047B2F375C3A}"/>
    <dgm:cxn modelId="{CA964487-5363-614A-8F07-586FE04C8A4E}" srcId="{8E9C6513-A58A-014A-9C1E-A4323C56A9A1}" destId="{348FF781-262D-E242-9A60-44E6B5DF3446}" srcOrd="1" destOrd="0" parTransId="{6C3F5ADC-71C2-7447-9845-3E0C8D9B9F50}" sibTransId="{92A10295-1D1B-B149-9AEB-335C1F977F5B}"/>
    <dgm:cxn modelId="{26436693-F9A7-084D-89ED-2C04D02DEB2C}" type="presOf" srcId="{58FF4A13-1A0C-5B44-9E5F-6DFE66E40511}" destId="{6D6669F6-23B2-2146-A6EE-1CCB2A3674AA}" srcOrd="0" destOrd="0" presId="urn:microsoft.com/office/officeart/2005/8/layout/orgChart1"/>
    <dgm:cxn modelId="{33759594-6409-FB43-8F9C-88F825CCE00F}" type="presOf" srcId="{405DEE90-BAC4-5142-961E-DC90417BCF7D}" destId="{E01239BD-21F8-9044-8D3B-19A1D8B4D8D7}" srcOrd="0" destOrd="0" presId="urn:microsoft.com/office/officeart/2005/8/layout/orgChart1"/>
    <dgm:cxn modelId="{B75045A9-F02F-8340-AB59-1B6970A324DB}" type="presOf" srcId="{164C6EF8-1AE4-544A-A781-EA74276E5881}" destId="{FAC503F6-65B6-EF49-BAAB-80C8831F8361}" srcOrd="1" destOrd="0" presId="urn:microsoft.com/office/officeart/2005/8/layout/orgChart1"/>
    <dgm:cxn modelId="{1AA406AE-B66D-0A4E-BB30-996FCF33B57A}" type="presOf" srcId="{2FABE954-4732-AD43-91C1-96B5725272B0}" destId="{D68165A1-A80E-5740-BC60-130692A86A0E}" srcOrd="0" destOrd="0" presId="urn:microsoft.com/office/officeart/2005/8/layout/orgChart1"/>
    <dgm:cxn modelId="{027615B3-0039-594C-8F6C-A351F26CD7A5}" type="presOf" srcId="{550449D4-5AAD-1349-93DF-C648098C53AD}" destId="{B6390270-C5E1-1B4D-8671-AAEB26426405}" srcOrd="0" destOrd="0" presId="urn:microsoft.com/office/officeart/2005/8/layout/orgChart1"/>
    <dgm:cxn modelId="{F2DD1EB3-1569-704F-87AB-6E5BC9A42342}" srcId="{6CD0642B-6C88-914D-8477-997493540BFA}" destId="{2F1EF47C-5F47-7144-9C7E-A011553E4857}" srcOrd="3" destOrd="0" parTransId="{FED98B98-2346-984A-B278-86A3414659BB}" sibTransId="{8CDB17FA-115D-574B-A529-8794278121D4}"/>
    <dgm:cxn modelId="{A2CDA2B4-0FBA-8C43-A59A-3ABFFAB5FD04}" type="presOf" srcId="{02EE82EC-130F-4B46-8F4D-474150F6550C}" destId="{18A70079-B1FE-254C-86EC-384AFC7ACC17}" srcOrd="0" destOrd="0" presId="urn:microsoft.com/office/officeart/2005/8/layout/orgChart1"/>
    <dgm:cxn modelId="{1EADCEB5-55B4-844D-A173-12F24CA0CE45}" type="presOf" srcId="{37ABD089-63B5-3A4E-B028-DC33D6F9AF14}" destId="{D5839ECE-2F53-7C4A-8FE0-86FC98DA289A}" srcOrd="0" destOrd="0" presId="urn:microsoft.com/office/officeart/2005/8/layout/orgChart1"/>
    <dgm:cxn modelId="{A3651CB8-FFB2-5C48-A9BF-1E11301E7136}" type="presOf" srcId="{2F1EF47C-5F47-7144-9C7E-A011553E4857}" destId="{897790D7-EC38-3C40-AA5A-C2A029874E8F}" srcOrd="0" destOrd="0" presId="urn:microsoft.com/office/officeart/2005/8/layout/orgChart1"/>
    <dgm:cxn modelId="{7052C0BC-99C8-6843-AB27-FAE31E559B09}" srcId="{6CD0642B-6C88-914D-8477-997493540BFA}" destId="{8E9C6513-A58A-014A-9C1E-A4323C56A9A1}" srcOrd="2" destOrd="0" parTransId="{3FFDE09C-C21B-3D46-BA7E-6E7B0AF88019}" sibTransId="{5CBED654-6647-924A-ADD2-271E2E17CE4E}"/>
    <dgm:cxn modelId="{0D14C8BF-043C-0F4A-B4FE-D33F9F5201EF}" type="presOf" srcId="{405DEE90-BAC4-5142-961E-DC90417BCF7D}" destId="{F0F96C52-B351-B842-A06E-499DF4A2E326}" srcOrd="1" destOrd="0" presId="urn:microsoft.com/office/officeart/2005/8/layout/orgChart1"/>
    <dgm:cxn modelId="{E4D094C1-4FCD-0F45-A948-7FE226EC98F5}" type="presOf" srcId="{02EE82EC-130F-4B46-8F4D-474150F6550C}" destId="{904F4C81-3BB6-AF42-B940-2C094FB844F7}" srcOrd="1" destOrd="0" presId="urn:microsoft.com/office/officeart/2005/8/layout/orgChart1"/>
    <dgm:cxn modelId="{B38E3BC8-C501-0648-8E3B-94DB7EDDEC80}" type="presOf" srcId="{CA0E9F47-880A-FB45-BB23-4E6C65D75778}" destId="{59ED0169-F0D4-7044-9325-9901DDF62D03}" srcOrd="0" destOrd="0" presId="urn:microsoft.com/office/officeart/2005/8/layout/orgChart1"/>
    <dgm:cxn modelId="{B80067D6-E709-984C-B1D2-3C32BD09F554}" type="presOf" srcId="{46B8A4F6-EF1E-4541-A237-C4B6930917F4}" destId="{2114FF47-2B2D-FD4F-8C50-04F8FD58B2EB}" srcOrd="0" destOrd="0" presId="urn:microsoft.com/office/officeart/2005/8/layout/orgChart1"/>
    <dgm:cxn modelId="{61892ED8-86F7-5E4A-B7E5-4AEA84FAB0FF}" srcId="{14DEF336-97E5-284F-A227-B73EE89E5855}" destId="{58FF4A13-1A0C-5B44-9E5F-6DFE66E40511}" srcOrd="1" destOrd="0" parTransId="{46B8A4F6-EF1E-4541-A237-C4B6930917F4}" sibTransId="{4DD57BC5-A996-BB48-A750-6A2A5A2423F6}"/>
    <dgm:cxn modelId="{64293BDA-E202-E048-AE30-2290B6232F1B}" type="presOf" srcId="{74C0DE6F-D6C8-2841-9E02-C4836D7A46D8}" destId="{1D53F555-DEC2-194F-AFAA-42110C82DF29}" srcOrd="0" destOrd="0" presId="urn:microsoft.com/office/officeart/2005/8/layout/orgChart1"/>
    <dgm:cxn modelId="{FDA104E4-4860-C34C-B19C-CFDCCDE91707}" type="presOf" srcId="{8E9C6513-A58A-014A-9C1E-A4323C56A9A1}" destId="{C7BB9E3E-B2C0-DB41-9272-0C149BB7A9E9}" srcOrd="0" destOrd="0" presId="urn:microsoft.com/office/officeart/2005/8/layout/orgChart1"/>
    <dgm:cxn modelId="{6B50CEE5-3AFC-8647-B9B5-57E43FDE2649}" type="presOf" srcId="{1976D40B-FEE5-224E-8780-B0FA4404A461}" destId="{EBFD3ECD-B864-0B4A-8803-8C72D7518219}" srcOrd="0" destOrd="0" presId="urn:microsoft.com/office/officeart/2005/8/layout/orgChart1"/>
    <dgm:cxn modelId="{A4645BE7-ACAC-C145-B76B-B8E52D1E7B90}" type="presOf" srcId="{8E9C6513-A58A-014A-9C1E-A4323C56A9A1}" destId="{4CB033C3-F538-594E-91A1-0BC047643E50}" srcOrd="1" destOrd="0" presId="urn:microsoft.com/office/officeart/2005/8/layout/orgChart1"/>
    <dgm:cxn modelId="{8980A8E9-E41C-CF44-9335-9FD2A9F2269F}" type="presOf" srcId="{6CD0642B-6C88-914D-8477-997493540BFA}" destId="{7A05BF01-11F8-744B-B9D7-070AE8A5127C}" srcOrd="1" destOrd="0" presId="urn:microsoft.com/office/officeart/2005/8/layout/orgChart1"/>
    <dgm:cxn modelId="{FEFA07F2-6D40-BA42-82D4-105752D6F1AF}" type="presOf" srcId="{CA0E9F47-880A-FB45-BB23-4E6C65D75778}" destId="{753609E8-6637-1646-B02C-23ED873EF2BD}" srcOrd="1" destOrd="0" presId="urn:microsoft.com/office/officeart/2005/8/layout/orgChart1"/>
    <dgm:cxn modelId="{655971F5-327B-A240-91F8-2AED29F4C9F5}" type="presOf" srcId="{FBB51B98-3A48-304C-83E5-9261A1043BB2}" destId="{414CB44E-4AC5-4D42-BF56-9911F55318E0}" srcOrd="0" destOrd="0" presId="urn:microsoft.com/office/officeart/2005/8/layout/orgChart1"/>
    <dgm:cxn modelId="{FF7882FA-EF99-C44E-9A46-7CDF4A31DE21}" type="presOf" srcId="{9D0E8A5F-EC72-7941-91BF-0D9158F18B22}" destId="{17BC36CD-2BEB-7B44-AF0D-05EFFAA84580}" srcOrd="0" destOrd="0" presId="urn:microsoft.com/office/officeart/2005/8/layout/orgChart1"/>
    <dgm:cxn modelId="{DD9101FE-5B1F-D54B-ACA9-E3FE1B9F6688}" type="presOf" srcId="{CA6DA619-7DD1-2740-A548-D6E6BDA2AFDC}" destId="{73FCA5CA-2118-AE40-BF5C-8D7B2EE5DD22}" srcOrd="0" destOrd="0" presId="urn:microsoft.com/office/officeart/2005/8/layout/orgChart1"/>
    <dgm:cxn modelId="{A1610BFE-E2BB-EB4B-8C50-87046A0AD714}" type="presOf" srcId="{59B0C0E2-B6F0-0D46-983A-A9C2B413A26B}" destId="{2DD0002D-7F9B-8E4E-9922-5B45A716BFFF}" srcOrd="0" destOrd="0" presId="urn:microsoft.com/office/officeart/2005/8/layout/orgChart1"/>
    <dgm:cxn modelId="{60C4A591-B0B1-1F40-A7E7-27C846233CFD}" type="presParOf" srcId="{D68165A1-A80E-5740-BC60-130692A86A0E}" destId="{EC56D34E-0907-7048-BBFF-1C169DBA2551}" srcOrd="0" destOrd="0" presId="urn:microsoft.com/office/officeart/2005/8/layout/orgChart1"/>
    <dgm:cxn modelId="{C19F2D39-4F1E-9449-9AAA-FD27F57E9E74}" type="presParOf" srcId="{EC56D34E-0907-7048-BBFF-1C169DBA2551}" destId="{72E21055-D28D-234A-B09C-4398E45E1476}" srcOrd="0" destOrd="0" presId="urn:microsoft.com/office/officeart/2005/8/layout/orgChart1"/>
    <dgm:cxn modelId="{4CC7BB6A-741E-4C42-A2D3-5742521356FD}" type="presParOf" srcId="{72E21055-D28D-234A-B09C-4398E45E1476}" destId="{B1C2EE46-569F-BA4B-87E6-76B889BBDCC7}" srcOrd="0" destOrd="0" presId="urn:microsoft.com/office/officeart/2005/8/layout/orgChart1"/>
    <dgm:cxn modelId="{49F4DBD4-6DC7-1943-861D-9A5AF1522084}" type="presParOf" srcId="{72E21055-D28D-234A-B09C-4398E45E1476}" destId="{7A05BF01-11F8-744B-B9D7-070AE8A5127C}" srcOrd="1" destOrd="0" presId="urn:microsoft.com/office/officeart/2005/8/layout/orgChart1"/>
    <dgm:cxn modelId="{1FBD6123-F21D-B549-A107-2D4201341943}" type="presParOf" srcId="{EC56D34E-0907-7048-BBFF-1C169DBA2551}" destId="{F6BD6285-9A0C-9540-9C9A-B4894832C58C}" srcOrd="1" destOrd="0" presId="urn:microsoft.com/office/officeart/2005/8/layout/orgChart1"/>
    <dgm:cxn modelId="{421C9AB2-1779-5843-9924-AD3E3BFFD834}" type="presParOf" srcId="{F6BD6285-9A0C-9540-9C9A-B4894832C58C}" destId="{5D1C6920-702C-C54E-9EE7-BC8804FE720D}" srcOrd="0" destOrd="0" presId="urn:microsoft.com/office/officeart/2005/8/layout/orgChart1"/>
    <dgm:cxn modelId="{525E9134-2022-A74D-A06C-16AE83F1691F}" type="presParOf" srcId="{F6BD6285-9A0C-9540-9C9A-B4894832C58C}" destId="{12B748B3-41FA-2E48-B607-DD01445318D7}" srcOrd="1" destOrd="0" presId="urn:microsoft.com/office/officeart/2005/8/layout/orgChart1"/>
    <dgm:cxn modelId="{F2EB2471-1609-5C48-9309-77113E46EEDB}" type="presParOf" srcId="{12B748B3-41FA-2E48-B607-DD01445318D7}" destId="{CA2BC169-CEF1-4E45-BD55-75D4A45425C5}" srcOrd="0" destOrd="0" presId="urn:microsoft.com/office/officeart/2005/8/layout/orgChart1"/>
    <dgm:cxn modelId="{A6DE330D-C58A-8642-ACFF-6C947744A236}" type="presParOf" srcId="{CA2BC169-CEF1-4E45-BD55-75D4A45425C5}" destId="{C7BB9E3E-B2C0-DB41-9272-0C149BB7A9E9}" srcOrd="0" destOrd="0" presId="urn:microsoft.com/office/officeart/2005/8/layout/orgChart1"/>
    <dgm:cxn modelId="{7BDB3508-4088-5244-9D6F-282C0BB0853C}" type="presParOf" srcId="{CA2BC169-CEF1-4E45-BD55-75D4A45425C5}" destId="{4CB033C3-F538-594E-91A1-0BC047643E50}" srcOrd="1" destOrd="0" presId="urn:microsoft.com/office/officeart/2005/8/layout/orgChart1"/>
    <dgm:cxn modelId="{6E55D638-9D72-BF44-AA25-7A6692294F03}" type="presParOf" srcId="{12B748B3-41FA-2E48-B607-DD01445318D7}" destId="{2F3765D8-D9A8-6341-8D10-F99279BB72CC}" srcOrd="1" destOrd="0" presId="urn:microsoft.com/office/officeart/2005/8/layout/orgChart1"/>
    <dgm:cxn modelId="{1FCE10A9-89BD-D24D-9CF6-C164006DED62}" type="presParOf" srcId="{2F3765D8-D9A8-6341-8D10-F99279BB72CC}" destId="{F0A6260D-9AE0-1F43-8096-348232B86438}" srcOrd="0" destOrd="0" presId="urn:microsoft.com/office/officeart/2005/8/layout/orgChart1"/>
    <dgm:cxn modelId="{A9F72AE7-07F7-6348-AEC2-05E8FE0FA5A7}" type="presParOf" srcId="{2F3765D8-D9A8-6341-8D10-F99279BB72CC}" destId="{2B708EBA-C537-6B41-8AF2-05459E7A3E6F}" srcOrd="1" destOrd="0" presId="urn:microsoft.com/office/officeart/2005/8/layout/orgChart1"/>
    <dgm:cxn modelId="{F33FA6A6-59A0-5B45-B488-9EC9C817A0BE}" type="presParOf" srcId="{2B708EBA-C537-6B41-8AF2-05459E7A3E6F}" destId="{A854F072-E212-F542-8B12-BCD7252E4077}" srcOrd="0" destOrd="0" presId="urn:microsoft.com/office/officeart/2005/8/layout/orgChart1"/>
    <dgm:cxn modelId="{0E7B800C-A8BD-9149-9417-5647D5C9268B}" type="presParOf" srcId="{A854F072-E212-F542-8B12-BCD7252E4077}" destId="{EBFD3ECD-B864-0B4A-8803-8C72D7518219}" srcOrd="0" destOrd="0" presId="urn:microsoft.com/office/officeart/2005/8/layout/orgChart1"/>
    <dgm:cxn modelId="{2D5E24FF-4AD6-C744-88FC-CC7354601AB7}" type="presParOf" srcId="{A854F072-E212-F542-8B12-BCD7252E4077}" destId="{E71890C4-80CF-E944-83FE-31A95B0D3607}" srcOrd="1" destOrd="0" presId="urn:microsoft.com/office/officeart/2005/8/layout/orgChart1"/>
    <dgm:cxn modelId="{69B4982D-347D-3D47-9424-D3052CEEEC69}" type="presParOf" srcId="{2B708EBA-C537-6B41-8AF2-05459E7A3E6F}" destId="{65BAC847-D3BB-8D43-8AD4-F9DFF7939C9A}" srcOrd="1" destOrd="0" presId="urn:microsoft.com/office/officeart/2005/8/layout/orgChart1"/>
    <dgm:cxn modelId="{46117CD0-8E24-764D-9242-4A5980EBA811}" type="presParOf" srcId="{2B708EBA-C537-6B41-8AF2-05459E7A3E6F}" destId="{4AF9302A-5AB9-2749-A3C7-AABD87C16C13}" srcOrd="2" destOrd="0" presId="urn:microsoft.com/office/officeart/2005/8/layout/orgChart1"/>
    <dgm:cxn modelId="{2F374718-D7F0-C543-A754-FCB4818CD006}" type="presParOf" srcId="{2F3765D8-D9A8-6341-8D10-F99279BB72CC}" destId="{F053A1D1-01B3-BC4E-9FFC-A680F12CAE77}" srcOrd="2" destOrd="0" presId="urn:microsoft.com/office/officeart/2005/8/layout/orgChart1"/>
    <dgm:cxn modelId="{CBAE5D63-802E-F347-BB8A-908D6D71C30D}" type="presParOf" srcId="{2F3765D8-D9A8-6341-8D10-F99279BB72CC}" destId="{811AFD35-66FF-E843-BF5B-E86961C6F44F}" srcOrd="3" destOrd="0" presId="urn:microsoft.com/office/officeart/2005/8/layout/orgChart1"/>
    <dgm:cxn modelId="{90B32020-9270-1F4D-BECC-63FF46A47C25}" type="presParOf" srcId="{811AFD35-66FF-E843-BF5B-E86961C6F44F}" destId="{0190CEDA-9285-FD44-8D4F-490EF8C3DEB1}" srcOrd="0" destOrd="0" presId="urn:microsoft.com/office/officeart/2005/8/layout/orgChart1"/>
    <dgm:cxn modelId="{5ADE8167-564F-E44D-B20E-AAAA9A1CFC9C}" type="presParOf" srcId="{0190CEDA-9285-FD44-8D4F-490EF8C3DEB1}" destId="{0EE4A6C9-B86E-F247-B7C2-46393E99A74D}" srcOrd="0" destOrd="0" presId="urn:microsoft.com/office/officeart/2005/8/layout/orgChart1"/>
    <dgm:cxn modelId="{F92D52B2-F24A-A941-8085-A1C3137333BD}" type="presParOf" srcId="{0190CEDA-9285-FD44-8D4F-490EF8C3DEB1}" destId="{09BFA0C9-ECCD-F641-821C-824843077A99}" srcOrd="1" destOrd="0" presId="urn:microsoft.com/office/officeart/2005/8/layout/orgChart1"/>
    <dgm:cxn modelId="{896700A7-DEBE-0D45-9E6B-E03A58D3C554}" type="presParOf" srcId="{811AFD35-66FF-E843-BF5B-E86961C6F44F}" destId="{73CFF321-D6E6-714B-9C53-826FB3CB457B}" srcOrd="1" destOrd="0" presId="urn:microsoft.com/office/officeart/2005/8/layout/orgChart1"/>
    <dgm:cxn modelId="{7CFE3482-341B-BA48-82C0-D6FBED283890}" type="presParOf" srcId="{811AFD35-66FF-E843-BF5B-E86961C6F44F}" destId="{C33877BD-C6FD-0C4A-AE3C-ECF32780F80B}" srcOrd="2" destOrd="0" presId="urn:microsoft.com/office/officeart/2005/8/layout/orgChart1"/>
    <dgm:cxn modelId="{C37BE75D-EAB4-AD41-A187-6118BAE1733C}" type="presParOf" srcId="{12B748B3-41FA-2E48-B607-DD01445318D7}" destId="{A6BCA0B1-6C08-954B-8399-B9F66A3D6504}" srcOrd="2" destOrd="0" presId="urn:microsoft.com/office/officeart/2005/8/layout/orgChart1"/>
    <dgm:cxn modelId="{5CB47AC6-DC83-BB4D-A0BB-138FE11AC4C3}" type="presParOf" srcId="{F6BD6285-9A0C-9540-9C9A-B4894832C58C}" destId="{733D43A4-D5F0-AD4F-9038-12A5A175A42E}" srcOrd="2" destOrd="0" presId="urn:microsoft.com/office/officeart/2005/8/layout/orgChart1"/>
    <dgm:cxn modelId="{FF1E152B-1248-4146-AA3B-1BE6AA963EB5}" type="presParOf" srcId="{F6BD6285-9A0C-9540-9C9A-B4894832C58C}" destId="{F05C729A-0B48-5443-BB5E-229C0CAD241E}" srcOrd="3" destOrd="0" presId="urn:microsoft.com/office/officeart/2005/8/layout/orgChart1"/>
    <dgm:cxn modelId="{752E8F75-2A2A-E247-A5F2-BD9FD76EC793}" type="presParOf" srcId="{F05C729A-0B48-5443-BB5E-229C0CAD241E}" destId="{158567FF-27D1-7C47-828F-190C50398D9F}" srcOrd="0" destOrd="0" presId="urn:microsoft.com/office/officeart/2005/8/layout/orgChart1"/>
    <dgm:cxn modelId="{1368B4C6-36D4-AF40-A09D-F7DB6D54CEBC}" type="presParOf" srcId="{158567FF-27D1-7C47-828F-190C50398D9F}" destId="{897790D7-EC38-3C40-AA5A-C2A029874E8F}" srcOrd="0" destOrd="0" presId="urn:microsoft.com/office/officeart/2005/8/layout/orgChart1"/>
    <dgm:cxn modelId="{520F411F-55F8-7848-AE05-24ECF86337B9}" type="presParOf" srcId="{158567FF-27D1-7C47-828F-190C50398D9F}" destId="{0E600C27-D757-7740-97BF-1F440B7BCA98}" srcOrd="1" destOrd="0" presId="urn:microsoft.com/office/officeart/2005/8/layout/orgChart1"/>
    <dgm:cxn modelId="{1B7440CC-DA01-1A47-BC4C-9454511BE659}" type="presParOf" srcId="{F05C729A-0B48-5443-BB5E-229C0CAD241E}" destId="{588F900B-F7F9-4E4F-BCB3-4719B4D692C1}" srcOrd="1" destOrd="0" presId="urn:microsoft.com/office/officeart/2005/8/layout/orgChart1"/>
    <dgm:cxn modelId="{47F8BC4B-5714-504E-8105-4AC55059D036}" type="presParOf" srcId="{588F900B-F7F9-4E4F-BCB3-4719B4D692C1}" destId="{2A760FE7-F19F-FE4D-8156-F6643E019102}" srcOrd="0" destOrd="0" presId="urn:microsoft.com/office/officeart/2005/8/layout/orgChart1"/>
    <dgm:cxn modelId="{54E51DA5-B06E-514D-A1A2-315D2C420ACD}" type="presParOf" srcId="{588F900B-F7F9-4E4F-BCB3-4719B4D692C1}" destId="{AC9A742A-6AD5-F443-AC61-39B821448A49}" srcOrd="1" destOrd="0" presId="urn:microsoft.com/office/officeart/2005/8/layout/orgChart1"/>
    <dgm:cxn modelId="{0760AF54-B217-744E-92D4-4CB724C9DD6F}" type="presParOf" srcId="{AC9A742A-6AD5-F443-AC61-39B821448A49}" destId="{97DB3542-5373-1045-98FE-D4254323272C}" srcOrd="0" destOrd="0" presId="urn:microsoft.com/office/officeart/2005/8/layout/orgChart1"/>
    <dgm:cxn modelId="{423F23BE-4C5D-FC45-A02B-63202C841DDA}" type="presParOf" srcId="{97DB3542-5373-1045-98FE-D4254323272C}" destId="{17BC36CD-2BEB-7B44-AF0D-05EFFAA84580}" srcOrd="0" destOrd="0" presId="urn:microsoft.com/office/officeart/2005/8/layout/orgChart1"/>
    <dgm:cxn modelId="{40262A2F-EEE1-2740-A8A8-145047F162A9}" type="presParOf" srcId="{97DB3542-5373-1045-98FE-D4254323272C}" destId="{53B13D2C-B698-794F-BCF4-50A94D7B1691}" srcOrd="1" destOrd="0" presId="urn:microsoft.com/office/officeart/2005/8/layout/orgChart1"/>
    <dgm:cxn modelId="{8F18ABF4-C0C5-C544-B60B-52EAAC18E772}" type="presParOf" srcId="{AC9A742A-6AD5-F443-AC61-39B821448A49}" destId="{E54917F7-1CF8-8749-846A-697450C449A5}" srcOrd="1" destOrd="0" presId="urn:microsoft.com/office/officeart/2005/8/layout/orgChart1"/>
    <dgm:cxn modelId="{B5C67572-C1F3-7646-B9C7-D2F7CE725998}" type="presParOf" srcId="{AC9A742A-6AD5-F443-AC61-39B821448A49}" destId="{5F0FC91E-24A5-264D-B74F-EBFA1E1A71D6}" srcOrd="2" destOrd="0" presId="urn:microsoft.com/office/officeart/2005/8/layout/orgChart1"/>
    <dgm:cxn modelId="{07551A97-238F-5546-8A17-E476B711E0F0}" type="presParOf" srcId="{588F900B-F7F9-4E4F-BCB3-4719B4D692C1}" destId="{414CB44E-4AC5-4D42-BF56-9911F55318E0}" srcOrd="2" destOrd="0" presId="urn:microsoft.com/office/officeart/2005/8/layout/orgChart1"/>
    <dgm:cxn modelId="{9796347F-3330-8C44-906E-560788A18EF3}" type="presParOf" srcId="{588F900B-F7F9-4E4F-BCB3-4719B4D692C1}" destId="{E1C42933-477F-7F49-A5A1-C9C58832B880}" srcOrd="3" destOrd="0" presId="urn:microsoft.com/office/officeart/2005/8/layout/orgChart1"/>
    <dgm:cxn modelId="{09F413F5-30F6-B44E-9C8B-5F240410666E}" type="presParOf" srcId="{E1C42933-477F-7F49-A5A1-C9C58832B880}" destId="{5F93A6D9-26EC-424C-B1F4-CA946A463AAB}" srcOrd="0" destOrd="0" presId="urn:microsoft.com/office/officeart/2005/8/layout/orgChart1"/>
    <dgm:cxn modelId="{5368B6F7-32BA-CE49-BA68-920928447057}" type="presParOf" srcId="{5F93A6D9-26EC-424C-B1F4-CA946A463AAB}" destId="{18A70079-B1FE-254C-86EC-384AFC7ACC17}" srcOrd="0" destOrd="0" presId="urn:microsoft.com/office/officeart/2005/8/layout/orgChart1"/>
    <dgm:cxn modelId="{F7127557-A031-2640-A1B1-7ABFEE08555A}" type="presParOf" srcId="{5F93A6D9-26EC-424C-B1F4-CA946A463AAB}" destId="{904F4C81-3BB6-AF42-B940-2C094FB844F7}" srcOrd="1" destOrd="0" presId="urn:microsoft.com/office/officeart/2005/8/layout/orgChart1"/>
    <dgm:cxn modelId="{AD5C6D77-C532-7649-8E89-18FAA02266C6}" type="presParOf" srcId="{E1C42933-477F-7F49-A5A1-C9C58832B880}" destId="{7F4E0C43-EFFF-534D-B9EB-5959B331FA66}" srcOrd="1" destOrd="0" presId="urn:microsoft.com/office/officeart/2005/8/layout/orgChart1"/>
    <dgm:cxn modelId="{6A95F800-28A9-8945-8F3D-19CF19735BA4}" type="presParOf" srcId="{E1C42933-477F-7F49-A5A1-C9C58832B880}" destId="{F56E8578-71FB-4742-87EA-7D3650FD2744}" srcOrd="2" destOrd="0" presId="urn:microsoft.com/office/officeart/2005/8/layout/orgChart1"/>
    <dgm:cxn modelId="{EBA64399-5064-B748-900E-9DF7D282851F}" type="presParOf" srcId="{F05C729A-0B48-5443-BB5E-229C0CAD241E}" destId="{A2CAE005-1BDB-684F-AD50-2F6804E71535}" srcOrd="2" destOrd="0" presId="urn:microsoft.com/office/officeart/2005/8/layout/orgChart1"/>
    <dgm:cxn modelId="{11CE8E64-2461-E54F-8518-EF0106064924}" type="presParOf" srcId="{F6BD6285-9A0C-9540-9C9A-B4894832C58C}" destId="{B6390270-C5E1-1B4D-8671-AAEB26426405}" srcOrd="4" destOrd="0" presId="urn:microsoft.com/office/officeart/2005/8/layout/orgChart1"/>
    <dgm:cxn modelId="{EA4C9A15-5463-1441-B544-AD9A0E3D5661}" type="presParOf" srcId="{F6BD6285-9A0C-9540-9C9A-B4894832C58C}" destId="{3C894616-2972-0E4A-9107-67439CBB8ECF}" srcOrd="5" destOrd="0" presId="urn:microsoft.com/office/officeart/2005/8/layout/orgChart1"/>
    <dgm:cxn modelId="{64861FBF-CF42-8E43-9569-8AF37433E35A}" type="presParOf" srcId="{3C894616-2972-0E4A-9107-67439CBB8ECF}" destId="{D0E83106-E4AF-C147-BA16-8675A8BAA882}" srcOrd="0" destOrd="0" presId="urn:microsoft.com/office/officeart/2005/8/layout/orgChart1"/>
    <dgm:cxn modelId="{D0798DB2-18D5-7D49-9F38-54C0CC6DD6E3}" type="presParOf" srcId="{D0E83106-E4AF-C147-BA16-8675A8BAA882}" destId="{E7E61E33-4F07-8545-B483-E1C0872C0264}" srcOrd="0" destOrd="0" presId="urn:microsoft.com/office/officeart/2005/8/layout/orgChart1"/>
    <dgm:cxn modelId="{AC352F67-FA0C-144C-9D55-DB8B6F958DD7}" type="presParOf" srcId="{D0E83106-E4AF-C147-BA16-8675A8BAA882}" destId="{8D89F466-B9D6-4F40-A353-D0E8DA268772}" srcOrd="1" destOrd="0" presId="urn:microsoft.com/office/officeart/2005/8/layout/orgChart1"/>
    <dgm:cxn modelId="{561BB5DE-2301-624D-AD28-4D147B88DF70}" type="presParOf" srcId="{3C894616-2972-0E4A-9107-67439CBB8ECF}" destId="{9C2FA65F-AD3B-CF4E-A821-055C98A72C5B}" srcOrd="1" destOrd="0" presId="urn:microsoft.com/office/officeart/2005/8/layout/orgChart1"/>
    <dgm:cxn modelId="{9A2D2F43-B665-9641-AFAA-404006453E3B}" type="presParOf" srcId="{9C2FA65F-AD3B-CF4E-A821-055C98A72C5B}" destId="{3F3ED76A-0F5C-D84F-82CF-771526FEFBA8}" srcOrd="0" destOrd="0" presId="urn:microsoft.com/office/officeart/2005/8/layout/orgChart1"/>
    <dgm:cxn modelId="{A5CBEE09-93C8-1B4F-8889-A347321B4ADE}" type="presParOf" srcId="{9C2FA65F-AD3B-CF4E-A821-055C98A72C5B}" destId="{6BE24433-EA16-2642-A1CE-B49219792D57}" srcOrd="1" destOrd="0" presId="urn:microsoft.com/office/officeart/2005/8/layout/orgChart1"/>
    <dgm:cxn modelId="{E95F8155-F396-944A-8383-A4DAA4B4B402}" type="presParOf" srcId="{6BE24433-EA16-2642-A1CE-B49219792D57}" destId="{3A2BF848-CD4F-994E-8F6C-DC9E324609FC}" srcOrd="0" destOrd="0" presId="urn:microsoft.com/office/officeart/2005/8/layout/orgChart1"/>
    <dgm:cxn modelId="{E78E80FB-4A11-FA4E-9EC7-8B8ACB1BC9EB}" type="presParOf" srcId="{3A2BF848-CD4F-994E-8F6C-DC9E324609FC}" destId="{68BB586D-D5DC-B24E-817B-A7FD18FD4DB0}" srcOrd="0" destOrd="0" presId="urn:microsoft.com/office/officeart/2005/8/layout/orgChart1"/>
    <dgm:cxn modelId="{4369633C-D40F-F141-B9FC-1955DD11DDD2}" type="presParOf" srcId="{3A2BF848-CD4F-994E-8F6C-DC9E324609FC}" destId="{D37B52C3-E4F8-3946-82BF-4BC3ADB31E6A}" srcOrd="1" destOrd="0" presId="urn:microsoft.com/office/officeart/2005/8/layout/orgChart1"/>
    <dgm:cxn modelId="{C2D6C4CE-EBE5-CE46-9F3C-6DE4437C497D}" type="presParOf" srcId="{6BE24433-EA16-2642-A1CE-B49219792D57}" destId="{EE343ED9-0429-A249-8FB0-B371CDC643F6}" srcOrd="1" destOrd="0" presId="urn:microsoft.com/office/officeart/2005/8/layout/orgChart1"/>
    <dgm:cxn modelId="{BB032494-443D-1D45-A071-2F4BF4D0B576}" type="presParOf" srcId="{6BE24433-EA16-2642-A1CE-B49219792D57}" destId="{42CF9306-2F98-0A47-A404-AC84610BEF61}" srcOrd="2" destOrd="0" presId="urn:microsoft.com/office/officeart/2005/8/layout/orgChart1"/>
    <dgm:cxn modelId="{F4854380-F8D1-504B-B513-92001F4034A2}" type="presParOf" srcId="{9C2FA65F-AD3B-CF4E-A821-055C98A72C5B}" destId="{2114FF47-2B2D-FD4F-8C50-04F8FD58B2EB}" srcOrd="2" destOrd="0" presId="urn:microsoft.com/office/officeart/2005/8/layout/orgChart1"/>
    <dgm:cxn modelId="{824FBF51-5663-334B-BBFB-162BFACC62B3}" type="presParOf" srcId="{9C2FA65F-AD3B-CF4E-A821-055C98A72C5B}" destId="{5B6C2243-EB45-9C4B-B0A2-673BF55160DA}" srcOrd="3" destOrd="0" presId="urn:microsoft.com/office/officeart/2005/8/layout/orgChart1"/>
    <dgm:cxn modelId="{BDFFB71E-C7E8-E843-9E04-748667887ECC}" type="presParOf" srcId="{5B6C2243-EB45-9C4B-B0A2-673BF55160DA}" destId="{52ABEA27-0B0A-D842-983A-2463B7FFA8D6}" srcOrd="0" destOrd="0" presId="urn:microsoft.com/office/officeart/2005/8/layout/orgChart1"/>
    <dgm:cxn modelId="{2E2FA258-9E44-364D-AD05-9CF90C8D1AB9}" type="presParOf" srcId="{52ABEA27-0B0A-D842-983A-2463B7FFA8D6}" destId="{6D6669F6-23B2-2146-A6EE-1CCB2A3674AA}" srcOrd="0" destOrd="0" presId="urn:microsoft.com/office/officeart/2005/8/layout/orgChart1"/>
    <dgm:cxn modelId="{C7242B98-4494-3A4D-A0AA-CFEF6B93CE9D}" type="presParOf" srcId="{52ABEA27-0B0A-D842-983A-2463B7FFA8D6}" destId="{4C794321-20BC-6C43-A4F2-C2FD9814A792}" srcOrd="1" destOrd="0" presId="urn:microsoft.com/office/officeart/2005/8/layout/orgChart1"/>
    <dgm:cxn modelId="{F8376B26-3970-6148-BE56-4878F73CFFAE}" type="presParOf" srcId="{5B6C2243-EB45-9C4B-B0A2-673BF55160DA}" destId="{DB7DE879-1C6A-094D-9180-900F23565500}" srcOrd="1" destOrd="0" presId="urn:microsoft.com/office/officeart/2005/8/layout/orgChart1"/>
    <dgm:cxn modelId="{8E703C85-4EEE-4D46-9846-A6D03325020E}" type="presParOf" srcId="{5B6C2243-EB45-9C4B-B0A2-673BF55160DA}" destId="{87480F40-D260-DB43-88DC-0155C31393C6}" srcOrd="2" destOrd="0" presId="urn:microsoft.com/office/officeart/2005/8/layout/orgChart1"/>
    <dgm:cxn modelId="{81C0CD97-E1A4-9747-ADC2-369DB8C15598}" type="presParOf" srcId="{3C894616-2972-0E4A-9107-67439CBB8ECF}" destId="{1975B48C-F949-A34A-AEB2-B3A835451523}" srcOrd="2" destOrd="0" presId="urn:microsoft.com/office/officeart/2005/8/layout/orgChart1"/>
    <dgm:cxn modelId="{FBF6B827-4E9E-1C42-871A-F775A7AD397D}" type="presParOf" srcId="{F6BD6285-9A0C-9540-9C9A-B4894832C58C}" destId="{6B38FF74-9455-934E-A38E-2715111CCCB5}" srcOrd="6" destOrd="0" presId="urn:microsoft.com/office/officeart/2005/8/layout/orgChart1"/>
    <dgm:cxn modelId="{A4A98FED-712D-144C-85D8-79D83FE39955}" type="presParOf" srcId="{F6BD6285-9A0C-9540-9C9A-B4894832C58C}" destId="{909C4E94-132D-F040-82BF-393717685D0F}" srcOrd="7" destOrd="0" presId="urn:microsoft.com/office/officeart/2005/8/layout/orgChart1"/>
    <dgm:cxn modelId="{0C3951B4-41CB-E349-991E-E46F3F3DC0C8}" type="presParOf" srcId="{909C4E94-132D-F040-82BF-393717685D0F}" destId="{06E56170-0ADA-8847-ACFC-9FF22EC4F3E5}" srcOrd="0" destOrd="0" presId="urn:microsoft.com/office/officeart/2005/8/layout/orgChart1"/>
    <dgm:cxn modelId="{AD999502-0AE6-034A-AE76-671AA89AA21D}" type="presParOf" srcId="{06E56170-0ADA-8847-ACFC-9FF22EC4F3E5}" destId="{C1A33E56-2793-E04F-9734-1AE95F405D11}" srcOrd="0" destOrd="0" presId="urn:microsoft.com/office/officeart/2005/8/layout/orgChart1"/>
    <dgm:cxn modelId="{9E9D3542-14B1-6548-B443-DBAC6BEBC96B}" type="presParOf" srcId="{06E56170-0ADA-8847-ACFC-9FF22EC4F3E5}" destId="{FAC503F6-65B6-EF49-BAAB-80C8831F8361}" srcOrd="1" destOrd="0" presId="urn:microsoft.com/office/officeart/2005/8/layout/orgChart1"/>
    <dgm:cxn modelId="{F8D0A9A0-7466-414E-85F9-B1589C3CAA27}" type="presParOf" srcId="{909C4E94-132D-F040-82BF-393717685D0F}" destId="{9469448A-91A1-964E-AB4C-07751D3C4C76}" srcOrd="1" destOrd="0" presId="urn:microsoft.com/office/officeart/2005/8/layout/orgChart1"/>
    <dgm:cxn modelId="{D1688417-AE9E-974E-89C0-5A579960B3C7}" type="presParOf" srcId="{9469448A-91A1-964E-AB4C-07751D3C4C76}" destId="{D5839ECE-2F53-7C4A-8FE0-86FC98DA289A}" srcOrd="0" destOrd="0" presId="urn:microsoft.com/office/officeart/2005/8/layout/orgChart1"/>
    <dgm:cxn modelId="{58D6EAF1-C2AA-8440-ABFC-4AFC6BDBC490}" type="presParOf" srcId="{9469448A-91A1-964E-AB4C-07751D3C4C76}" destId="{FE8416A8-2EF3-E743-A6B9-6487F0173EC9}" srcOrd="1" destOrd="0" presId="urn:microsoft.com/office/officeart/2005/8/layout/orgChart1"/>
    <dgm:cxn modelId="{E7828235-9736-F54A-B770-2C0D9824A13F}" type="presParOf" srcId="{FE8416A8-2EF3-E743-A6B9-6487F0173EC9}" destId="{E4FAC21D-0D73-D044-82DE-EA48A1D89BD1}" srcOrd="0" destOrd="0" presId="urn:microsoft.com/office/officeart/2005/8/layout/orgChart1"/>
    <dgm:cxn modelId="{C6BE7A6B-F538-D94A-B1A8-D7A1DB4D8701}" type="presParOf" srcId="{E4FAC21D-0D73-D044-82DE-EA48A1D89BD1}" destId="{59ED0169-F0D4-7044-9325-9901DDF62D03}" srcOrd="0" destOrd="0" presId="urn:microsoft.com/office/officeart/2005/8/layout/orgChart1"/>
    <dgm:cxn modelId="{469F1EE4-FEFA-5F4D-824E-F5371BD595D6}" type="presParOf" srcId="{E4FAC21D-0D73-D044-82DE-EA48A1D89BD1}" destId="{753609E8-6637-1646-B02C-23ED873EF2BD}" srcOrd="1" destOrd="0" presId="urn:microsoft.com/office/officeart/2005/8/layout/orgChart1"/>
    <dgm:cxn modelId="{287E766E-8FC6-D945-A2AA-00144E13C76A}" type="presParOf" srcId="{FE8416A8-2EF3-E743-A6B9-6487F0173EC9}" destId="{443A2E9E-95AA-7242-85FB-71D887DF4560}" srcOrd="1" destOrd="0" presId="urn:microsoft.com/office/officeart/2005/8/layout/orgChart1"/>
    <dgm:cxn modelId="{7996C982-D5D7-D149-8342-5CF3B2080697}" type="presParOf" srcId="{FE8416A8-2EF3-E743-A6B9-6487F0173EC9}" destId="{7D18744F-909B-8E44-8ED9-A45DB7D94983}" srcOrd="2" destOrd="0" presId="urn:microsoft.com/office/officeart/2005/8/layout/orgChart1"/>
    <dgm:cxn modelId="{2EE59A24-67A0-C048-9D94-21A109B07857}" type="presParOf" srcId="{909C4E94-132D-F040-82BF-393717685D0F}" destId="{FC428C7C-E66A-DD47-AC74-5DB49F011709}" srcOrd="2" destOrd="0" presId="urn:microsoft.com/office/officeart/2005/8/layout/orgChart1"/>
    <dgm:cxn modelId="{CB875D84-C565-0049-BE03-781BA7A76F19}" type="presParOf" srcId="{EC56D34E-0907-7048-BBFF-1C169DBA2551}" destId="{23B198BA-3CC7-C34C-B596-726EF65891EB}" srcOrd="2" destOrd="0" presId="urn:microsoft.com/office/officeart/2005/8/layout/orgChart1"/>
    <dgm:cxn modelId="{BFE91293-8F17-E043-8BF4-249DC722CA30}" type="presParOf" srcId="{23B198BA-3CC7-C34C-B596-726EF65891EB}" destId="{1D53F555-DEC2-194F-AFAA-42110C82DF29}" srcOrd="0" destOrd="0" presId="urn:microsoft.com/office/officeart/2005/8/layout/orgChart1"/>
    <dgm:cxn modelId="{AF42F293-0516-2048-9D58-68634CE184BC}" type="presParOf" srcId="{23B198BA-3CC7-C34C-B596-726EF65891EB}" destId="{54814DE8-94DB-9A4A-A465-27902E58F9D4}" srcOrd="1" destOrd="0" presId="urn:microsoft.com/office/officeart/2005/8/layout/orgChart1"/>
    <dgm:cxn modelId="{10E4A1FA-538A-BC4D-8B57-DBCCDF487FAA}" type="presParOf" srcId="{54814DE8-94DB-9A4A-A465-27902E58F9D4}" destId="{0E193917-CF44-E449-BFBB-4FD1B5AC11EF}" srcOrd="0" destOrd="0" presId="urn:microsoft.com/office/officeart/2005/8/layout/orgChart1"/>
    <dgm:cxn modelId="{74ED4973-0E63-DA4E-B179-DB43DD599E21}" type="presParOf" srcId="{0E193917-CF44-E449-BFBB-4FD1B5AC11EF}" destId="{73FCA5CA-2118-AE40-BF5C-8D7B2EE5DD22}" srcOrd="0" destOrd="0" presId="urn:microsoft.com/office/officeart/2005/8/layout/orgChart1"/>
    <dgm:cxn modelId="{C2A50738-3A3A-B940-A67E-889E9394AF39}" type="presParOf" srcId="{0E193917-CF44-E449-BFBB-4FD1B5AC11EF}" destId="{A6317C2D-E487-EC48-8469-B825165B0DFB}" srcOrd="1" destOrd="0" presId="urn:microsoft.com/office/officeart/2005/8/layout/orgChart1"/>
    <dgm:cxn modelId="{56FDA66B-5076-434F-AB02-145D954BE4BF}" type="presParOf" srcId="{54814DE8-94DB-9A4A-A465-27902E58F9D4}" destId="{3F1E215E-ED9B-9148-A457-11AE4989BEB9}" srcOrd="1" destOrd="0" presId="urn:microsoft.com/office/officeart/2005/8/layout/orgChart1"/>
    <dgm:cxn modelId="{1BF135FA-6AAF-144D-B435-F21B6D2F1543}" type="presParOf" srcId="{54814DE8-94DB-9A4A-A465-27902E58F9D4}" destId="{FBDDA96F-01CB-8B44-840A-AE457F54A2C6}" srcOrd="2" destOrd="0" presId="urn:microsoft.com/office/officeart/2005/8/layout/orgChart1"/>
    <dgm:cxn modelId="{27F7482B-EEB2-3A4F-9FC7-CA2E078832F5}" type="presParOf" srcId="{23B198BA-3CC7-C34C-B596-726EF65891EB}" destId="{2DD0002D-7F9B-8E4E-9922-5B45A716BFFF}" srcOrd="2" destOrd="0" presId="urn:microsoft.com/office/officeart/2005/8/layout/orgChart1"/>
    <dgm:cxn modelId="{5D7EAAA5-36C1-D648-A1AA-AE1FAA25CA7F}" type="presParOf" srcId="{23B198BA-3CC7-C34C-B596-726EF65891EB}" destId="{C32E713C-A0C8-B743-89E2-A828C37FB784}" srcOrd="3" destOrd="0" presId="urn:microsoft.com/office/officeart/2005/8/layout/orgChart1"/>
    <dgm:cxn modelId="{255AF3B7-8800-A342-B819-E7A0890F1301}" type="presParOf" srcId="{C32E713C-A0C8-B743-89E2-A828C37FB784}" destId="{2C48C126-C9FF-D545-BF7E-E9DA99E3AA7D}" srcOrd="0" destOrd="0" presId="urn:microsoft.com/office/officeart/2005/8/layout/orgChart1"/>
    <dgm:cxn modelId="{89424DAD-1AE5-484D-8A70-B31C6084D0C0}" type="presParOf" srcId="{2C48C126-C9FF-D545-BF7E-E9DA99E3AA7D}" destId="{E01239BD-21F8-9044-8D3B-19A1D8B4D8D7}" srcOrd="0" destOrd="0" presId="urn:microsoft.com/office/officeart/2005/8/layout/orgChart1"/>
    <dgm:cxn modelId="{98D0C460-6F13-9A48-A010-449F10F73F0F}" type="presParOf" srcId="{2C48C126-C9FF-D545-BF7E-E9DA99E3AA7D}" destId="{F0F96C52-B351-B842-A06E-499DF4A2E326}" srcOrd="1" destOrd="0" presId="urn:microsoft.com/office/officeart/2005/8/layout/orgChart1"/>
    <dgm:cxn modelId="{08FDBFB3-7E51-944E-8B6C-6E53A07F0984}" type="presParOf" srcId="{C32E713C-A0C8-B743-89E2-A828C37FB784}" destId="{C108F3E3-740F-6D40-8E36-8A6233932A8A}" srcOrd="1" destOrd="0" presId="urn:microsoft.com/office/officeart/2005/8/layout/orgChart1"/>
    <dgm:cxn modelId="{76167DFA-C5F9-0043-827B-17D498A29BAB}" type="presParOf" srcId="{C32E713C-A0C8-B743-89E2-A828C37FB784}" destId="{CBD583C9-D8AE-6C4D-95FB-B746ADBD4FE6}" srcOrd="2" destOrd="0" presId="urn:microsoft.com/office/officeart/2005/8/layout/orgChart1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2.xml><?xml version="1.0" encoding="utf-8"?>
<dgm:dataModel xmlns:dgm="http://schemas.openxmlformats.org/drawingml/2006/diagram" xmlns:a="http://schemas.openxmlformats.org/drawingml/2006/main">
  <dgm:ptLst>
    <dgm:pt modelId="{474F2598-475E-DA40-A278-38D99891EC98}" type="doc">
      <dgm:prSet loTypeId="urn:microsoft.com/office/officeart/2005/8/layout/hierarchy3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5A7E37F0-10F2-B140-B8C2-B0307FB94152}">
      <dgm:prSet phldrT="[Text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ầu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ên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n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ánh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</a:t>
          </a:r>
          <a:endParaRPr lang="en-GB" sz="3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8121DC4F-3428-AB47-81B9-8454BBE745BA}" type="parTrans" cxnId="{E72883A6-5FE1-6548-9A82-704AB1542BC8}">
      <dgm:prSet/>
      <dgm:spPr/>
      <dgm:t>
        <a:bodyPr/>
        <a:lstStyle/>
        <a:p>
          <a:endParaRPr lang="en-GB" sz="2000"/>
        </a:p>
      </dgm:t>
    </dgm:pt>
    <dgm:pt modelId="{AE07C7FD-FD6A-AA4A-A68C-2140D141EAF3}" type="sibTrans" cxnId="{E72883A6-5FE1-6548-9A82-704AB1542BC8}">
      <dgm:prSet/>
      <dgm:spPr/>
      <dgm:t>
        <a:bodyPr/>
        <a:lstStyle/>
        <a:p>
          <a:endParaRPr lang="en-GB" sz="2000"/>
        </a:p>
      </dgm:t>
    </dgm:pt>
    <dgm:pt modelId="{9ED86240-19F6-8144-973E-DEA40EBB44FF}">
      <dgm:prSet phldrT="[Text]" custT="1"/>
      <dgm:spPr/>
      <dgm:t>
        <a:bodyPr/>
        <a:lstStyle/>
        <a:p>
          <a:r>
            <a:rPr lang="en-GB" sz="2000" dirty="0" err="1">
              <a:latin typeface="Times New Roman" pitchFamily="18" charset="0"/>
              <a:cs typeface="Times New Roman" pitchFamily="18" charset="0"/>
            </a:rPr>
            <a:t>Liệu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vấn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đề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liên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quan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nhu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em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hay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?</a:t>
          </a:r>
        </a:p>
      </dgm:t>
    </dgm:pt>
    <dgm:pt modelId="{F2C840AF-08C7-BD42-8667-5F6FF018C964}" type="parTrans" cxnId="{F863F4E7-77AD-7342-A924-1A3963BAECD2}">
      <dgm:prSet/>
      <dgm:spPr/>
      <dgm:t>
        <a:bodyPr/>
        <a:lstStyle/>
        <a:p>
          <a:endParaRPr lang="en-GB" sz="2000"/>
        </a:p>
      </dgm:t>
    </dgm:pt>
    <dgm:pt modelId="{8489971C-C88D-C64B-BCD9-068040A601EA}" type="sibTrans" cxnId="{F863F4E7-77AD-7342-A924-1A3963BAECD2}">
      <dgm:prSet/>
      <dgm:spPr/>
      <dgm:t>
        <a:bodyPr/>
        <a:lstStyle/>
        <a:p>
          <a:endParaRPr lang="en-GB" sz="2000"/>
        </a:p>
      </dgm:t>
    </dgm:pt>
    <dgm:pt modelId="{4C219155-B850-F84C-915A-19A1B3ECCC23}">
      <dgm:prSet phldrT="[Text]" custT="1"/>
      <dgm:spPr/>
      <dgm:t>
        <a:bodyPr/>
        <a:lstStyle/>
        <a:p>
          <a:r>
            <a:rPr lang="en-GB" sz="20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2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khả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năng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:</a:t>
          </a:r>
        </a:p>
        <a:p>
          <a:r>
            <a:rPr lang="en-GB" sz="2000" dirty="0" err="1">
              <a:latin typeface="Times New Roman" pitchFamily="18" charset="0"/>
              <a:cs typeface="Times New Roman" pitchFamily="18" charset="0"/>
            </a:rPr>
            <a:t>Đúng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?</a:t>
          </a:r>
        </a:p>
        <a:p>
          <a:r>
            <a:rPr lang="en-GB" sz="2000" dirty="0">
              <a:latin typeface="Times New Roman" pitchFamily="18" charset="0"/>
              <a:cs typeface="Times New Roman" pitchFamily="18" charset="0"/>
            </a:rPr>
            <a:t>Sai ?</a:t>
          </a:r>
        </a:p>
      </dgm:t>
    </dgm:pt>
    <dgm:pt modelId="{27232F4A-4489-3943-B09A-170786C65E04}" type="parTrans" cxnId="{691F00AB-4C2B-A649-9861-C6BBD4225F74}">
      <dgm:prSet/>
      <dgm:spPr/>
      <dgm:t>
        <a:bodyPr/>
        <a:lstStyle/>
        <a:p>
          <a:endParaRPr lang="en-GB" sz="2000"/>
        </a:p>
      </dgm:t>
    </dgm:pt>
    <dgm:pt modelId="{A8CE7934-246F-1848-8806-C16E137ED2F5}" type="sibTrans" cxnId="{691F00AB-4C2B-A649-9861-C6BBD4225F74}">
      <dgm:prSet/>
      <dgm:spPr/>
      <dgm:t>
        <a:bodyPr/>
        <a:lstStyle/>
        <a:p>
          <a:endParaRPr lang="en-GB" sz="2000"/>
        </a:p>
      </dgm:t>
    </dgm:pt>
    <dgm:pt modelId="{43F69D7C-6659-C546-A11F-9D2757B45D48}">
      <dgm:prSet phldrT="[Text]" custT="1"/>
      <dgm:spPr>
        <a:solidFill>
          <a:schemeClr val="accent5">
            <a:lumMod val="20000"/>
            <a:lumOff val="80000"/>
          </a:schemeClr>
        </a:solidFill>
      </dgm:spPr>
      <dgm:t>
        <a:bodyPr/>
        <a:lstStyle/>
        <a:p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eo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n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ánh</a:t>
          </a:r>
          <a:r>
            <a:rPr lang="en-GB" sz="3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</a:t>
          </a:r>
          <a:endParaRPr lang="en-GB" sz="3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7F0B0B8D-C496-8347-A2A7-AD65F55A0BA2}" type="parTrans" cxnId="{077F44DD-CFAC-D14F-8FEB-D56763316BFF}">
      <dgm:prSet/>
      <dgm:spPr/>
      <dgm:t>
        <a:bodyPr/>
        <a:lstStyle/>
        <a:p>
          <a:endParaRPr lang="en-GB" sz="2000"/>
        </a:p>
      </dgm:t>
    </dgm:pt>
    <dgm:pt modelId="{A6F90C86-B751-7646-A23C-9C0B52D22FE9}" type="sibTrans" cxnId="{077F44DD-CFAC-D14F-8FEB-D56763316BFF}">
      <dgm:prSet/>
      <dgm:spPr/>
      <dgm:t>
        <a:bodyPr/>
        <a:lstStyle/>
        <a:p>
          <a:endParaRPr lang="en-GB" sz="2000"/>
        </a:p>
      </dgm:t>
    </dgm:pt>
    <dgm:pt modelId="{61A8841A-4E0A-FA48-921F-36EBC6D78EB6}">
      <dgm:prSet phldrT="[Text]" custT="1"/>
      <dgm:spPr/>
      <dgm:t>
        <a:bodyPr/>
        <a:lstStyle/>
        <a:p>
          <a:r>
            <a:rPr lang="en-GB" sz="2000" dirty="0" err="1">
              <a:latin typeface="Times New Roman" pitchFamily="18" charset="0"/>
              <a:cs typeface="Times New Roman" pitchFamily="18" charset="0"/>
            </a:rPr>
            <a:t>Liệu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vấn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đề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liên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quan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XHTE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?</a:t>
          </a:r>
        </a:p>
      </dgm:t>
    </dgm:pt>
    <dgm:pt modelId="{D6ABD0C2-4036-3644-BD3A-02ED68E89C44}" type="parTrans" cxnId="{C5037C28-D364-794F-B11C-A158EBC5E025}">
      <dgm:prSet/>
      <dgm:spPr/>
      <dgm:t>
        <a:bodyPr/>
        <a:lstStyle/>
        <a:p>
          <a:endParaRPr lang="en-GB" sz="2000"/>
        </a:p>
      </dgm:t>
    </dgm:pt>
    <dgm:pt modelId="{A229B899-95F7-2246-A6F9-6B081A38C820}" type="sibTrans" cxnId="{C5037C28-D364-794F-B11C-A158EBC5E025}">
      <dgm:prSet/>
      <dgm:spPr/>
      <dgm:t>
        <a:bodyPr/>
        <a:lstStyle/>
        <a:p>
          <a:endParaRPr lang="en-GB" sz="2000"/>
        </a:p>
      </dgm:t>
    </dgm:pt>
    <dgm:pt modelId="{473399E3-EF5B-FF44-B88A-50E4EB66276B}">
      <dgm:prSet phldrT="[Text]" custT="1"/>
      <dgm:spPr/>
      <dgm:t>
        <a:bodyPr/>
        <a:lstStyle/>
        <a:p>
          <a:r>
            <a:rPr lang="en-GB" sz="2000" dirty="0" err="1">
              <a:latin typeface="Times New Roman" pitchFamily="18" charset="0"/>
              <a:cs typeface="Times New Roman" pitchFamily="18" charset="0"/>
            </a:rPr>
            <a:t>Chuyển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bước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4. Ra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quyết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định</a:t>
          </a:r>
          <a:endParaRPr lang="en-GB" sz="2000" dirty="0">
            <a:latin typeface="Times New Roman" pitchFamily="18" charset="0"/>
            <a:cs typeface="Times New Roman" pitchFamily="18" charset="0"/>
          </a:endParaRPr>
        </a:p>
      </dgm:t>
    </dgm:pt>
    <dgm:pt modelId="{E6833EB7-DB75-634C-9B24-38741059BC96}" type="parTrans" cxnId="{618B3E0E-0732-2F4F-878A-81646C45DAA2}">
      <dgm:prSet/>
      <dgm:spPr/>
      <dgm:t>
        <a:bodyPr/>
        <a:lstStyle/>
        <a:p>
          <a:endParaRPr lang="en-GB" sz="2000"/>
        </a:p>
      </dgm:t>
    </dgm:pt>
    <dgm:pt modelId="{8B5528EA-61F0-2D4E-B7A7-DD8996826F0A}" type="sibTrans" cxnId="{618B3E0E-0732-2F4F-878A-81646C45DAA2}">
      <dgm:prSet/>
      <dgm:spPr/>
      <dgm:t>
        <a:bodyPr/>
        <a:lstStyle/>
        <a:p>
          <a:endParaRPr lang="en-GB" sz="2000"/>
        </a:p>
      </dgm:t>
    </dgm:pt>
    <dgm:pt modelId="{5EE8FD9F-ED6E-AB48-80CE-856A0386217E}">
      <dgm:prSet phldrT="[Text]" custT="1"/>
      <dgm:spPr/>
      <dgm:t>
        <a:bodyPr/>
        <a:lstStyle/>
        <a:p>
          <a:r>
            <a:rPr lang="en-GB" sz="2000" dirty="0" err="1">
              <a:latin typeface="Times New Roman" pitchFamily="18" charset="0"/>
              <a:cs typeface="Times New Roman" pitchFamily="18" charset="0"/>
            </a:rPr>
            <a:t>Nếu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đúng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?</a:t>
          </a:r>
        </a:p>
        <a:p>
          <a:r>
            <a:rPr lang="en-GB" sz="2000" dirty="0" err="1">
              <a:latin typeface="Times New Roman" pitchFamily="18" charset="0"/>
              <a:cs typeface="Times New Roman" pitchFamily="18" charset="0"/>
            </a:rPr>
            <a:t>Các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thông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tin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thu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liên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quan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nghi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ngại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về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hợp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XHTE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?</a:t>
          </a:r>
        </a:p>
      </dgm:t>
    </dgm:pt>
    <dgm:pt modelId="{8ACC7886-91EA-AD46-A8FB-DBC35C0D566A}" type="parTrans" cxnId="{40635459-C511-6B4E-9B32-4470C4EA662B}">
      <dgm:prSet/>
      <dgm:spPr/>
      <dgm:t>
        <a:bodyPr/>
        <a:lstStyle/>
        <a:p>
          <a:endParaRPr lang="en-GB" sz="2000"/>
        </a:p>
      </dgm:t>
    </dgm:pt>
    <dgm:pt modelId="{9F157CFD-1F6D-AF47-A07B-0C8A2BDA434C}" type="sibTrans" cxnId="{40635459-C511-6B4E-9B32-4470C4EA662B}">
      <dgm:prSet/>
      <dgm:spPr/>
      <dgm:t>
        <a:bodyPr/>
        <a:lstStyle/>
        <a:p>
          <a:endParaRPr lang="en-GB" sz="2000"/>
        </a:p>
      </dgm:t>
    </dgm:pt>
    <dgm:pt modelId="{0E27FD25-0779-8D47-98CC-1EC504CFC5F7}">
      <dgm:prSet phldrT="[Text]" custT="1"/>
      <dgm:spPr/>
      <dgm:t>
        <a:bodyPr/>
        <a:lstStyle/>
        <a:p>
          <a:r>
            <a:rPr lang="en-GB" sz="2000" dirty="0" err="1">
              <a:latin typeface="Times New Roman" pitchFamily="18" charset="0"/>
              <a:cs typeface="Times New Roman" pitchFamily="18" charset="0"/>
            </a:rPr>
            <a:t>Nếu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đúng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,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thực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hiện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việc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đánh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giá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tình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trạng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xâm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TE</a:t>
          </a:r>
        </a:p>
        <a:p>
          <a:r>
            <a:rPr lang="en-GB" sz="2000" dirty="0" err="1">
              <a:latin typeface="Times New Roman" pitchFamily="18" charset="0"/>
              <a:cs typeface="Times New Roman" pitchFamily="18" charset="0"/>
            </a:rPr>
            <a:t>Nếu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sai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,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thể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chuyển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gửi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CB an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sinh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/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chính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sách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xã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hội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.</a:t>
          </a:r>
        </a:p>
        <a:p>
          <a:r>
            <a:rPr lang="en-GB" sz="2000" dirty="0" err="1">
              <a:latin typeface="Times New Roman" pitchFamily="18" charset="0"/>
              <a:cs typeface="Times New Roman" pitchFamily="18" charset="0"/>
            </a:rPr>
            <a:t>Hoặc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dịch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vụ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an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sinh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xã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hội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nào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đó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khả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năng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xử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lý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hợp</a:t>
          </a:r>
          <a:r>
            <a:rPr lang="en-GB" sz="20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dirty="0" err="1">
              <a:latin typeface="Times New Roman" pitchFamily="18" charset="0"/>
              <a:cs typeface="Times New Roman" pitchFamily="18" charset="0"/>
            </a:rPr>
            <a:t>này</a:t>
          </a:r>
          <a:endParaRPr lang="en-GB" sz="2000" dirty="0">
            <a:latin typeface="Times New Roman" pitchFamily="18" charset="0"/>
            <a:cs typeface="Times New Roman" pitchFamily="18" charset="0"/>
          </a:endParaRPr>
        </a:p>
      </dgm:t>
    </dgm:pt>
    <dgm:pt modelId="{5DC68ABE-6D4E-6446-837B-F7CFAAF27B1B}" type="parTrans" cxnId="{02994BF9-7F2B-D34F-B3B9-C9B07EE8ADF4}">
      <dgm:prSet/>
      <dgm:spPr/>
      <dgm:t>
        <a:bodyPr/>
        <a:lstStyle/>
        <a:p>
          <a:endParaRPr lang="en-GB" sz="2000"/>
        </a:p>
      </dgm:t>
    </dgm:pt>
    <dgm:pt modelId="{45EE1022-5CC1-5A44-9BB4-265C6962D0EA}" type="sibTrans" cxnId="{02994BF9-7F2B-D34F-B3B9-C9B07EE8ADF4}">
      <dgm:prSet/>
      <dgm:spPr/>
      <dgm:t>
        <a:bodyPr/>
        <a:lstStyle/>
        <a:p>
          <a:endParaRPr lang="en-GB" sz="2000"/>
        </a:p>
      </dgm:t>
    </dgm:pt>
    <dgm:pt modelId="{48FA7D8B-E017-6B40-9A6B-C58052C10B6E}" type="pres">
      <dgm:prSet presAssocID="{474F2598-475E-DA40-A278-38D99891EC98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66C9E877-B0B2-CE49-A1A5-C28C3A083B63}" type="pres">
      <dgm:prSet presAssocID="{5A7E37F0-10F2-B140-B8C2-B0307FB94152}" presName="root" presStyleCnt="0"/>
      <dgm:spPr/>
    </dgm:pt>
    <dgm:pt modelId="{011A1960-022C-A649-83F7-D6C5474EDE30}" type="pres">
      <dgm:prSet presAssocID="{5A7E37F0-10F2-B140-B8C2-B0307FB94152}" presName="rootComposite" presStyleCnt="0"/>
      <dgm:spPr/>
    </dgm:pt>
    <dgm:pt modelId="{FD4C94E3-49F2-0E44-9B8B-EF6643F2876D}" type="pres">
      <dgm:prSet presAssocID="{5A7E37F0-10F2-B140-B8C2-B0307FB94152}" presName="rootText" presStyleLbl="node1" presStyleIdx="0" presStyleCnt="2" custScaleX="164731"/>
      <dgm:spPr/>
    </dgm:pt>
    <dgm:pt modelId="{DB0DF966-FB09-4045-8C89-3FEF2F15DDF4}" type="pres">
      <dgm:prSet presAssocID="{5A7E37F0-10F2-B140-B8C2-B0307FB94152}" presName="rootConnector" presStyleLbl="node1" presStyleIdx="0" presStyleCnt="2"/>
      <dgm:spPr/>
    </dgm:pt>
    <dgm:pt modelId="{6D60C174-5B65-E84D-9F07-109148D9C6CA}" type="pres">
      <dgm:prSet presAssocID="{5A7E37F0-10F2-B140-B8C2-B0307FB94152}" presName="childShape" presStyleCnt="0"/>
      <dgm:spPr/>
    </dgm:pt>
    <dgm:pt modelId="{BF021751-6BB3-AB4E-9ABD-F5AB8104B6A2}" type="pres">
      <dgm:prSet presAssocID="{F2C840AF-08C7-BD42-8667-5F6FF018C964}" presName="Name13" presStyleLbl="parChTrans1D2" presStyleIdx="0" presStyleCnt="6"/>
      <dgm:spPr/>
    </dgm:pt>
    <dgm:pt modelId="{A0F408C4-4A9F-6D48-9503-7E90AED5DA25}" type="pres">
      <dgm:prSet presAssocID="{9ED86240-19F6-8144-973E-DEA40EBB44FF}" presName="childText" presStyleLbl="bgAcc1" presStyleIdx="0" presStyleCnt="6" custScaleX="223190">
        <dgm:presLayoutVars>
          <dgm:bulletEnabled val="1"/>
        </dgm:presLayoutVars>
      </dgm:prSet>
      <dgm:spPr/>
    </dgm:pt>
    <dgm:pt modelId="{1FE6F307-9CD9-6D42-B6AF-077BCDAEC26E}" type="pres">
      <dgm:prSet presAssocID="{27232F4A-4489-3943-B09A-170786C65E04}" presName="Name13" presStyleLbl="parChTrans1D2" presStyleIdx="1" presStyleCnt="6"/>
      <dgm:spPr/>
    </dgm:pt>
    <dgm:pt modelId="{F4F5C7CA-9B1B-AE48-8A77-210F4925E050}" type="pres">
      <dgm:prSet presAssocID="{4C219155-B850-F84C-915A-19A1B3ECCC23}" presName="childText" presStyleLbl="bgAcc1" presStyleIdx="1" presStyleCnt="6" custScaleX="228203" custScaleY="136574">
        <dgm:presLayoutVars>
          <dgm:bulletEnabled val="1"/>
        </dgm:presLayoutVars>
      </dgm:prSet>
      <dgm:spPr/>
    </dgm:pt>
    <dgm:pt modelId="{C26B1347-3F69-5745-88ED-087AD8DB29CB}" type="pres">
      <dgm:prSet presAssocID="{8ACC7886-91EA-AD46-A8FB-DBC35C0D566A}" presName="Name13" presStyleLbl="parChTrans1D2" presStyleIdx="2" presStyleCnt="6"/>
      <dgm:spPr/>
    </dgm:pt>
    <dgm:pt modelId="{AB6DD859-EC90-1341-8B79-691B74265EF2}" type="pres">
      <dgm:prSet presAssocID="{5EE8FD9F-ED6E-AB48-80CE-856A0386217E}" presName="childText" presStyleLbl="bgAcc1" presStyleIdx="2" presStyleCnt="6" custScaleX="378319">
        <dgm:presLayoutVars>
          <dgm:bulletEnabled val="1"/>
        </dgm:presLayoutVars>
      </dgm:prSet>
      <dgm:spPr/>
    </dgm:pt>
    <dgm:pt modelId="{CCCC05D2-2AED-9C47-A76D-A56C53D49ADC}" type="pres">
      <dgm:prSet presAssocID="{5DC68ABE-6D4E-6446-837B-F7CFAAF27B1B}" presName="Name13" presStyleLbl="parChTrans1D2" presStyleIdx="3" presStyleCnt="6"/>
      <dgm:spPr/>
    </dgm:pt>
    <dgm:pt modelId="{D7A82C23-D882-2540-A7B0-EDFF11694A68}" type="pres">
      <dgm:prSet presAssocID="{0E27FD25-0779-8D47-98CC-1EC504CFC5F7}" presName="childText" presStyleLbl="bgAcc1" presStyleIdx="3" presStyleCnt="6" custScaleX="509384">
        <dgm:presLayoutVars>
          <dgm:bulletEnabled val="1"/>
        </dgm:presLayoutVars>
      </dgm:prSet>
      <dgm:spPr/>
    </dgm:pt>
    <dgm:pt modelId="{B9AA2B92-2464-A946-BB2D-3A63FD876615}" type="pres">
      <dgm:prSet presAssocID="{43F69D7C-6659-C546-A11F-9D2757B45D48}" presName="root" presStyleCnt="0"/>
      <dgm:spPr/>
    </dgm:pt>
    <dgm:pt modelId="{81530E20-CCBF-3F48-8E91-77891172D4AD}" type="pres">
      <dgm:prSet presAssocID="{43F69D7C-6659-C546-A11F-9D2757B45D48}" presName="rootComposite" presStyleCnt="0"/>
      <dgm:spPr/>
    </dgm:pt>
    <dgm:pt modelId="{7387F9F3-479F-4E48-9D0C-83B21D9DFF9E}" type="pres">
      <dgm:prSet presAssocID="{43F69D7C-6659-C546-A11F-9D2757B45D48}" presName="rootText" presStyleLbl="node1" presStyleIdx="1" presStyleCnt="2" custScaleX="164120"/>
      <dgm:spPr/>
    </dgm:pt>
    <dgm:pt modelId="{EA53D416-C55C-7E45-9EED-E34964F54894}" type="pres">
      <dgm:prSet presAssocID="{43F69D7C-6659-C546-A11F-9D2757B45D48}" presName="rootConnector" presStyleLbl="node1" presStyleIdx="1" presStyleCnt="2"/>
      <dgm:spPr/>
    </dgm:pt>
    <dgm:pt modelId="{8FDC4678-22E5-AA4F-8992-1FBD4939DE4E}" type="pres">
      <dgm:prSet presAssocID="{43F69D7C-6659-C546-A11F-9D2757B45D48}" presName="childShape" presStyleCnt="0"/>
      <dgm:spPr/>
    </dgm:pt>
    <dgm:pt modelId="{F8B389D0-10BF-F347-B598-3C271B02A9EF}" type="pres">
      <dgm:prSet presAssocID="{D6ABD0C2-4036-3644-BD3A-02ED68E89C44}" presName="Name13" presStyleLbl="parChTrans1D2" presStyleIdx="4" presStyleCnt="6"/>
      <dgm:spPr/>
    </dgm:pt>
    <dgm:pt modelId="{AEC4BFC0-D448-5648-B060-B3027DA6BA72}" type="pres">
      <dgm:prSet presAssocID="{61A8841A-4E0A-FA48-921F-36EBC6D78EB6}" presName="childText" presStyleLbl="bgAcc1" presStyleIdx="4" presStyleCnt="6" custScaleX="212720">
        <dgm:presLayoutVars>
          <dgm:bulletEnabled val="1"/>
        </dgm:presLayoutVars>
      </dgm:prSet>
      <dgm:spPr/>
    </dgm:pt>
    <dgm:pt modelId="{6AB88FEF-2F07-9245-BF77-DA09D4BCF749}" type="pres">
      <dgm:prSet presAssocID="{E6833EB7-DB75-634C-9B24-38741059BC96}" presName="Name13" presStyleLbl="parChTrans1D2" presStyleIdx="5" presStyleCnt="6"/>
      <dgm:spPr/>
    </dgm:pt>
    <dgm:pt modelId="{2FF90F84-58CE-6846-8793-78ADEE8C0503}" type="pres">
      <dgm:prSet presAssocID="{473399E3-EF5B-FF44-B88A-50E4EB66276B}" presName="childText" presStyleLbl="bgAcc1" presStyleIdx="5" presStyleCnt="6" custScaleX="153028">
        <dgm:presLayoutVars>
          <dgm:bulletEnabled val="1"/>
        </dgm:presLayoutVars>
      </dgm:prSet>
      <dgm:spPr/>
    </dgm:pt>
  </dgm:ptLst>
  <dgm:cxnLst>
    <dgm:cxn modelId="{618B3E0E-0732-2F4F-878A-81646C45DAA2}" srcId="{43F69D7C-6659-C546-A11F-9D2757B45D48}" destId="{473399E3-EF5B-FF44-B88A-50E4EB66276B}" srcOrd="1" destOrd="0" parTransId="{E6833EB7-DB75-634C-9B24-38741059BC96}" sibTransId="{8B5528EA-61F0-2D4E-B7A7-DD8996826F0A}"/>
    <dgm:cxn modelId="{A8DCB80E-B8F0-6644-8C69-07DB4C5A8C8D}" type="presOf" srcId="{61A8841A-4E0A-FA48-921F-36EBC6D78EB6}" destId="{AEC4BFC0-D448-5648-B060-B3027DA6BA72}" srcOrd="0" destOrd="0" presId="urn:microsoft.com/office/officeart/2005/8/layout/hierarchy3"/>
    <dgm:cxn modelId="{CA6AAE21-72BD-C344-826B-3D2AF3A8435B}" type="presOf" srcId="{0E27FD25-0779-8D47-98CC-1EC504CFC5F7}" destId="{D7A82C23-D882-2540-A7B0-EDFF11694A68}" srcOrd="0" destOrd="0" presId="urn:microsoft.com/office/officeart/2005/8/layout/hierarchy3"/>
    <dgm:cxn modelId="{C5037C28-D364-794F-B11C-A158EBC5E025}" srcId="{43F69D7C-6659-C546-A11F-9D2757B45D48}" destId="{61A8841A-4E0A-FA48-921F-36EBC6D78EB6}" srcOrd="0" destOrd="0" parTransId="{D6ABD0C2-4036-3644-BD3A-02ED68E89C44}" sibTransId="{A229B899-95F7-2246-A6F9-6B081A38C820}"/>
    <dgm:cxn modelId="{7183D32E-58CE-7F45-AA98-7C3CF53EA53A}" type="presOf" srcId="{43F69D7C-6659-C546-A11F-9D2757B45D48}" destId="{7387F9F3-479F-4E48-9D0C-83B21D9DFF9E}" srcOrd="0" destOrd="0" presId="urn:microsoft.com/office/officeart/2005/8/layout/hierarchy3"/>
    <dgm:cxn modelId="{9441485E-AC4E-C946-AB7D-E8198CE979CF}" type="presOf" srcId="{D6ABD0C2-4036-3644-BD3A-02ED68E89C44}" destId="{F8B389D0-10BF-F347-B598-3C271B02A9EF}" srcOrd="0" destOrd="0" presId="urn:microsoft.com/office/officeart/2005/8/layout/hierarchy3"/>
    <dgm:cxn modelId="{22D8DB5E-CBE0-C544-9403-E9B86BAB5870}" type="presOf" srcId="{4C219155-B850-F84C-915A-19A1B3ECCC23}" destId="{F4F5C7CA-9B1B-AE48-8A77-210F4925E050}" srcOrd="0" destOrd="0" presId="urn:microsoft.com/office/officeart/2005/8/layout/hierarchy3"/>
    <dgm:cxn modelId="{F481D35F-E775-8A48-8C87-32B2E5C871B8}" type="presOf" srcId="{43F69D7C-6659-C546-A11F-9D2757B45D48}" destId="{EA53D416-C55C-7E45-9EED-E34964F54894}" srcOrd="1" destOrd="0" presId="urn:microsoft.com/office/officeart/2005/8/layout/hierarchy3"/>
    <dgm:cxn modelId="{8B961765-2A1B-5148-AF18-976005FDB024}" type="presOf" srcId="{5DC68ABE-6D4E-6446-837B-F7CFAAF27B1B}" destId="{CCCC05D2-2AED-9C47-A76D-A56C53D49ADC}" srcOrd="0" destOrd="0" presId="urn:microsoft.com/office/officeart/2005/8/layout/hierarchy3"/>
    <dgm:cxn modelId="{B8F87969-FEB1-1548-A095-393B5883DA64}" type="presOf" srcId="{F2C840AF-08C7-BD42-8667-5F6FF018C964}" destId="{BF021751-6BB3-AB4E-9ABD-F5AB8104B6A2}" srcOrd="0" destOrd="0" presId="urn:microsoft.com/office/officeart/2005/8/layout/hierarchy3"/>
    <dgm:cxn modelId="{180F246A-6DA6-D049-A66D-C1D9E8B750D0}" type="presOf" srcId="{9ED86240-19F6-8144-973E-DEA40EBB44FF}" destId="{A0F408C4-4A9F-6D48-9503-7E90AED5DA25}" srcOrd="0" destOrd="0" presId="urn:microsoft.com/office/officeart/2005/8/layout/hierarchy3"/>
    <dgm:cxn modelId="{EF57B16A-F8BA-314D-8166-5248E8880718}" type="presOf" srcId="{5A7E37F0-10F2-B140-B8C2-B0307FB94152}" destId="{FD4C94E3-49F2-0E44-9B8B-EF6643F2876D}" srcOrd="0" destOrd="0" presId="urn:microsoft.com/office/officeart/2005/8/layout/hierarchy3"/>
    <dgm:cxn modelId="{40635459-C511-6B4E-9B32-4470C4EA662B}" srcId="{5A7E37F0-10F2-B140-B8C2-B0307FB94152}" destId="{5EE8FD9F-ED6E-AB48-80CE-856A0386217E}" srcOrd="2" destOrd="0" parTransId="{8ACC7886-91EA-AD46-A8FB-DBC35C0D566A}" sibTransId="{9F157CFD-1F6D-AF47-A07B-0C8A2BDA434C}"/>
    <dgm:cxn modelId="{54AE5A87-C053-8A4C-BDFB-20D8A6D7B4EE}" type="presOf" srcId="{8ACC7886-91EA-AD46-A8FB-DBC35C0D566A}" destId="{C26B1347-3F69-5745-88ED-087AD8DB29CB}" srcOrd="0" destOrd="0" presId="urn:microsoft.com/office/officeart/2005/8/layout/hierarchy3"/>
    <dgm:cxn modelId="{F19C2A94-C17A-EB4E-BC36-6328F49326A9}" type="presOf" srcId="{473399E3-EF5B-FF44-B88A-50E4EB66276B}" destId="{2FF90F84-58CE-6846-8793-78ADEE8C0503}" srcOrd="0" destOrd="0" presId="urn:microsoft.com/office/officeart/2005/8/layout/hierarchy3"/>
    <dgm:cxn modelId="{379DB398-7F4B-774A-9216-B67F0348C9AB}" type="presOf" srcId="{27232F4A-4489-3943-B09A-170786C65E04}" destId="{1FE6F307-9CD9-6D42-B6AF-077BCDAEC26E}" srcOrd="0" destOrd="0" presId="urn:microsoft.com/office/officeart/2005/8/layout/hierarchy3"/>
    <dgm:cxn modelId="{E72883A6-5FE1-6548-9A82-704AB1542BC8}" srcId="{474F2598-475E-DA40-A278-38D99891EC98}" destId="{5A7E37F0-10F2-B140-B8C2-B0307FB94152}" srcOrd="0" destOrd="0" parTransId="{8121DC4F-3428-AB47-81B9-8454BBE745BA}" sibTransId="{AE07C7FD-FD6A-AA4A-A68C-2140D141EAF3}"/>
    <dgm:cxn modelId="{691F00AB-4C2B-A649-9861-C6BBD4225F74}" srcId="{5A7E37F0-10F2-B140-B8C2-B0307FB94152}" destId="{4C219155-B850-F84C-915A-19A1B3ECCC23}" srcOrd="1" destOrd="0" parTransId="{27232F4A-4489-3943-B09A-170786C65E04}" sibTransId="{A8CE7934-246F-1848-8806-C16E137ED2F5}"/>
    <dgm:cxn modelId="{D72575C5-5661-9A40-BE82-4962C5258402}" type="presOf" srcId="{5A7E37F0-10F2-B140-B8C2-B0307FB94152}" destId="{DB0DF966-FB09-4045-8C89-3FEF2F15DDF4}" srcOrd="1" destOrd="0" presId="urn:microsoft.com/office/officeart/2005/8/layout/hierarchy3"/>
    <dgm:cxn modelId="{077F44DD-CFAC-D14F-8FEB-D56763316BFF}" srcId="{474F2598-475E-DA40-A278-38D99891EC98}" destId="{43F69D7C-6659-C546-A11F-9D2757B45D48}" srcOrd="1" destOrd="0" parTransId="{7F0B0B8D-C496-8347-A2A7-AD65F55A0BA2}" sibTransId="{A6F90C86-B751-7646-A23C-9C0B52D22FE9}"/>
    <dgm:cxn modelId="{450E5FDF-BD5E-6C4C-B55D-17DF9AEC0988}" type="presOf" srcId="{5EE8FD9F-ED6E-AB48-80CE-856A0386217E}" destId="{AB6DD859-EC90-1341-8B79-691B74265EF2}" srcOrd="0" destOrd="0" presId="urn:microsoft.com/office/officeart/2005/8/layout/hierarchy3"/>
    <dgm:cxn modelId="{B022E4E6-8EAF-724B-AD84-77D250CE5346}" type="presOf" srcId="{474F2598-475E-DA40-A278-38D99891EC98}" destId="{48FA7D8B-E017-6B40-9A6B-C58052C10B6E}" srcOrd="0" destOrd="0" presId="urn:microsoft.com/office/officeart/2005/8/layout/hierarchy3"/>
    <dgm:cxn modelId="{F863F4E7-77AD-7342-A924-1A3963BAECD2}" srcId="{5A7E37F0-10F2-B140-B8C2-B0307FB94152}" destId="{9ED86240-19F6-8144-973E-DEA40EBB44FF}" srcOrd="0" destOrd="0" parTransId="{F2C840AF-08C7-BD42-8667-5F6FF018C964}" sibTransId="{8489971C-C88D-C64B-BCD9-068040A601EA}"/>
    <dgm:cxn modelId="{02994BF9-7F2B-D34F-B3B9-C9B07EE8ADF4}" srcId="{5A7E37F0-10F2-B140-B8C2-B0307FB94152}" destId="{0E27FD25-0779-8D47-98CC-1EC504CFC5F7}" srcOrd="3" destOrd="0" parTransId="{5DC68ABE-6D4E-6446-837B-F7CFAAF27B1B}" sibTransId="{45EE1022-5CC1-5A44-9BB4-265C6962D0EA}"/>
    <dgm:cxn modelId="{7E7194FB-CA6F-274F-9673-6EE9DB5E4AED}" type="presOf" srcId="{E6833EB7-DB75-634C-9B24-38741059BC96}" destId="{6AB88FEF-2F07-9245-BF77-DA09D4BCF749}" srcOrd="0" destOrd="0" presId="urn:microsoft.com/office/officeart/2005/8/layout/hierarchy3"/>
    <dgm:cxn modelId="{8D548C55-3608-E547-A96C-1BD94B99EB50}" type="presParOf" srcId="{48FA7D8B-E017-6B40-9A6B-C58052C10B6E}" destId="{66C9E877-B0B2-CE49-A1A5-C28C3A083B63}" srcOrd="0" destOrd="0" presId="urn:microsoft.com/office/officeart/2005/8/layout/hierarchy3"/>
    <dgm:cxn modelId="{F405573D-1A11-B34E-AA50-30031D092AA0}" type="presParOf" srcId="{66C9E877-B0B2-CE49-A1A5-C28C3A083B63}" destId="{011A1960-022C-A649-83F7-D6C5474EDE30}" srcOrd="0" destOrd="0" presId="urn:microsoft.com/office/officeart/2005/8/layout/hierarchy3"/>
    <dgm:cxn modelId="{81B389BA-367F-784B-ADE9-1D11AB7389A6}" type="presParOf" srcId="{011A1960-022C-A649-83F7-D6C5474EDE30}" destId="{FD4C94E3-49F2-0E44-9B8B-EF6643F2876D}" srcOrd="0" destOrd="0" presId="urn:microsoft.com/office/officeart/2005/8/layout/hierarchy3"/>
    <dgm:cxn modelId="{C9709DE1-DAB7-FB42-ABE2-B55FC7DFEFB2}" type="presParOf" srcId="{011A1960-022C-A649-83F7-D6C5474EDE30}" destId="{DB0DF966-FB09-4045-8C89-3FEF2F15DDF4}" srcOrd="1" destOrd="0" presId="urn:microsoft.com/office/officeart/2005/8/layout/hierarchy3"/>
    <dgm:cxn modelId="{2A5D3C7A-548E-214F-B4DD-39B03E6D98DC}" type="presParOf" srcId="{66C9E877-B0B2-CE49-A1A5-C28C3A083B63}" destId="{6D60C174-5B65-E84D-9F07-109148D9C6CA}" srcOrd="1" destOrd="0" presId="urn:microsoft.com/office/officeart/2005/8/layout/hierarchy3"/>
    <dgm:cxn modelId="{B18DC1AA-7BA4-DE41-B2A8-49F81117FD03}" type="presParOf" srcId="{6D60C174-5B65-E84D-9F07-109148D9C6CA}" destId="{BF021751-6BB3-AB4E-9ABD-F5AB8104B6A2}" srcOrd="0" destOrd="0" presId="urn:microsoft.com/office/officeart/2005/8/layout/hierarchy3"/>
    <dgm:cxn modelId="{745CB031-8EA5-2640-9554-C8E22F74FBF1}" type="presParOf" srcId="{6D60C174-5B65-E84D-9F07-109148D9C6CA}" destId="{A0F408C4-4A9F-6D48-9503-7E90AED5DA25}" srcOrd="1" destOrd="0" presId="urn:microsoft.com/office/officeart/2005/8/layout/hierarchy3"/>
    <dgm:cxn modelId="{6D0AC27C-0DF1-E24E-BFA0-05CDA17A8D51}" type="presParOf" srcId="{6D60C174-5B65-E84D-9F07-109148D9C6CA}" destId="{1FE6F307-9CD9-6D42-B6AF-077BCDAEC26E}" srcOrd="2" destOrd="0" presId="urn:microsoft.com/office/officeart/2005/8/layout/hierarchy3"/>
    <dgm:cxn modelId="{835EECFA-AA1B-C84B-AEFC-20ED033427A0}" type="presParOf" srcId="{6D60C174-5B65-E84D-9F07-109148D9C6CA}" destId="{F4F5C7CA-9B1B-AE48-8A77-210F4925E050}" srcOrd="3" destOrd="0" presId="urn:microsoft.com/office/officeart/2005/8/layout/hierarchy3"/>
    <dgm:cxn modelId="{0DF4C6E7-6829-4442-9B3F-8DDDB6EDFEDD}" type="presParOf" srcId="{6D60C174-5B65-E84D-9F07-109148D9C6CA}" destId="{C26B1347-3F69-5745-88ED-087AD8DB29CB}" srcOrd="4" destOrd="0" presId="urn:microsoft.com/office/officeart/2005/8/layout/hierarchy3"/>
    <dgm:cxn modelId="{03AE29DE-19F4-FC42-9DD5-E9109EEC3B52}" type="presParOf" srcId="{6D60C174-5B65-E84D-9F07-109148D9C6CA}" destId="{AB6DD859-EC90-1341-8B79-691B74265EF2}" srcOrd="5" destOrd="0" presId="urn:microsoft.com/office/officeart/2005/8/layout/hierarchy3"/>
    <dgm:cxn modelId="{1F44D320-A773-FF40-A5EA-925E07E0AFF6}" type="presParOf" srcId="{6D60C174-5B65-E84D-9F07-109148D9C6CA}" destId="{CCCC05D2-2AED-9C47-A76D-A56C53D49ADC}" srcOrd="6" destOrd="0" presId="urn:microsoft.com/office/officeart/2005/8/layout/hierarchy3"/>
    <dgm:cxn modelId="{09936360-C683-B24B-9F3A-3DF1A6284E55}" type="presParOf" srcId="{6D60C174-5B65-E84D-9F07-109148D9C6CA}" destId="{D7A82C23-D882-2540-A7B0-EDFF11694A68}" srcOrd="7" destOrd="0" presId="urn:microsoft.com/office/officeart/2005/8/layout/hierarchy3"/>
    <dgm:cxn modelId="{1569B926-A5AC-AF4B-86C8-334E8776DE18}" type="presParOf" srcId="{48FA7D8B-E017-6B40-9A6B-C58052C10B6E}" destId="{B9AA2B92-2464-A946-BB2D-3A63FD876615}" srcOrd="1" destOrd="0" presId="urn:microsoft.com/office/officeart/2005/8/layout/hierarchy3"/>
    <dgm:cxn modelId="{16B5B337-5E38-CD45-9E98-621D7D71D7BB}" type="presParOf" srcId="{B9AA2B92-2464-A946-BB2D-3A63FD876615}" destId="{81530E20-CCBF-3F48-8E91-77891172D4AD}" srcOrd="0" destOrd="0" presId="urn:microsoft.com/office/officeart/2005/8/layout/hierarchy3"/>
    <dgm:cxn modelId="{C0876B37-18F0-3148-99F0-66863797A60D}" type="presParOf" srcId="{81530E20-CCBF-3F48-8E91-77891172D4AD}" destId="{7387F9F3-479F-4E48-9D0C-83B21D9DFF9E}" srcOrd="0" destOrd="0" presId="urn:microsoft.com/office/officeart/2005/8/layout/hierarchy3"/>
    <dgm:cxn modelId="{38F69268-3081-1049-A926-CF21F8DE5623}" type="presParOf" srcId="{81530E20-CCBF-3F48-8E91-77891172D4AD}" destId="{EA53D416-C55C-7E45-9EED-E34964F54894}" srcOrd="1" destOrd="0" presId="urn:microsoft.com/office/officeart/2005/8/layout/hierarchy3"/>
    <dgm:cxn modelId="{3C691D96-870C-9A4B-8673-86D108DD40BE}" type="presParOf" srcId="{B9AA2B92-2464-A946-BB2D-3A63FD876615}" destId="{8FDC4678-22E5-AA4F-8992-1FBD4939DE4E}" srcOrd="1" destOrd="0" presId="urn:microsoft.com/office/officeart/2005/8/layout/hierarchy3"/>
    <dgm:cxn modelId="{C66B00CF-544B-4E44-984C-80928CEE9729}" type="presParOf" srcId="{8FDC4678-22E5-AA4F-8992-1FBD4939DE4E}" destId="{F8B389D0-10BF-F347-B598-3C271B02A9EF}" srcOrd="0" destOrd="0" presId="urn:microsoft.com/office/officeart/2005/8/layout/hierarchy3"/>
    <dgm:cxn modelId="{C22C45E6-59F6-DA41-A8A4-966583BA3B82}" type="presParOf" srcId="{8FDC4678-22E5-AA4F-8992-1FBD4939DE4E}" destId="{AEC4BFC0-D448-5648-B060-B3027DA6BA72}" srcOrd="1" destOrd="0" presId="urn:microsoft.com/office/officeart/2005/8/layout/hierarchy3"/>
    <dgm:cxn modelId="{1BE449BB-DFAC-2740-915D-83CB75E5CA9B}" type="presParOf" srcId="{8FDC4678-22E5-AA4F-8992-1FBD4939DE4E}" destId="{6AB88FEF-2F07-9245-BF77-DA09D4BCF749}" srcOrd="2" destOrd="0" presId="urn:microsoft.com/office/officeart/2005/8/layout/hierarchy3"/>
    <dgm:cxn modelId="{A16BCCF2-233E-F045-98A8-D87E9D79F604}" type="presParOf" srcId="{8FDC4678-22E5-AA4F-8992-1FBD4939DE4E}" destId="{2FF90F84-58CE-6846-8793-78ADEE8C0503}" srcOrd="3" destOrd="0" presId="urn:microsoft.com/office/officeart/2005/8/layout/hierarchy3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3.xml><?xml version="1.0" encoding="utf-8"?>
<dgm:dataModel xmlns:dgm="http://schemas.openxmlformats.org/drawingml/2006/diagram" xmlns:a="http://schemas.openxmlformats.org/drawingml/2006/main">
  <dgm:ptLst>
    <dgm:pt modelId="{D41D9EE4-F3E2-874F-A402-4D444FF4CF07}" type="doc">
      <dgm:prSet loTypeId="urn:microsoft.com/office/officeart/2005/8/layout/cycle3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A6F26F5-3359-F940-B966-919928D93465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1. Gia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ình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quyền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iết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rằng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ỉ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am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ào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iến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ình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ợ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giúp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ới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iết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ề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ố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áo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ày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ây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guyên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ắc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ật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iều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iện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.</a:t>
          </a:r>
        </a:p>
      </dgm:t>
    </dgm:pt>
    <dgm:pt modelId="{6E6F6E1E-E1B5-4E40-82BB-91A9980E8B02}" type="parTrans" cxnId="{4544EA7B-DEE6-3347-82AD-9B2D39E1C452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D5629F3A-6222-7049-AF88-6CA217E276C7}" type="sibTrans" cxnId="{4544EA7B-DEE6-3347-82AD-9B2D39E1C452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D34DFAE8-5512-364B-BE25-E1A744E231F2}">
      <dgm:prSet phldrT="[Text]"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2.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ạn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ên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ảo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uận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uyện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xảy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ra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ất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ỳ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ai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ừ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phù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à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ạn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ần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phải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ung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ông</a:t>
          </a:r>
          <a:r>
            <a:rPr lang="en-US" sz="28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tin.</a:t>
          </a:r>
        </a:p>
      </dgm:t>
    </dgm:pt>
    <dgm:pt modelId="{DC4E9328-97B7-DE4F-B36A-52EBACCAE2DE}" type="parTrans" cxnId="{3C7471E3-C6F9-6D42-8DB0-B54526DA64C0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A04680DD-C7FD-D142-9390-BA33EDC06C7D}" type="sibTrans" cxnId="{3C7471E3-C6F9-6D42-8DB0-B54526DA64C0}">
      <dgm:prSet/>
      <dgm:spPr/>
      <dgm:t>
        <a:bodyPr/>
        <a:lstStyle/>
        <a:p>
          <a:endParaRPr lang="en-US" sz="2000">
            <a:solidFill>
              <a:srgbClr val="000000"/>
            </a:solidFill>
          </a:endParaRPr>
        </a:p>
      </dgm:t>
    </dgm:pt>
    <dgm:pt modelId="{3D30DA31-1880-3D46-83B1-BD4F8E9A094E}" type="pres">
      <dgm:prSet presAssocID="{D41D9EE4-F3E2-874F-A402-4D444FF4CF07}" presName="Name0" presStyleCnt="0">
        <dgm:presLayoutVars>
          <dgm:dir/>
          <dgm:resizeHandles val="exact"/>
        </dgm:presLayoutVars>
      </dgm:prSet>
      <dgm:spPr/>
    </dgm:pt>
    <dgm:pt modelId="{CECE4DF9-09A0-434A-8499-B8DFAB2AD351}" type="pres">
      <dgm:prSet presAssocID="{D41D9EE4-F3E2-874F-A402-4D444FF4CF07}" presName="node1" presStyleLbl="node1" presStyleIdx="0" presStyleCnt="2" custScaleX="179813" custLinFactNeighborX="2769" custLinFactNeighborY="32555">
        <dgm:presLayoutVars>
          <dgm:bulletEnabled val="1"/>
        </dgm:presLayoutVars>
      </dgm:prSet>
      <dgm:spPr/>
    </dgm:pt>
    <dgm:pt modelId="{E70657E4-DCDC-C44A-BBB0-F13D121B0C53}" type="pres">
      <dgm:prSet presAssocID="{D41D9EE4-F3E2-874F-A402-4D444FF4CF07}" presName="sibTrans" presStyleLbl="bgShp" presStyleIdx="0" presStyleCnt="1"/>
      <dgm:spPr/>
    </dgm:pt>
    <dgm:pt modelId="{11538585-9A04-0148-B69C-8DE801BB274F}" type="pres">
      <dgm:prSet presAssocID="{D41D9EE4-F3E2-874F-A402-4D444FF4CF07}" presName="node2" presStyleLbl="node1" presStyleIdx="1" presStyleCnt="2" custScaleX="169839" custScaleY="103411" custLinFactNeighborY="-2215">
        <dgm:presLayoutVars>
          <dgm:bulletEnabled val="1"/>
        </dgm:presLayoutVars>
      </dgm:prSet>
      <dgm:spPr/>
    </dgm:pt>
    <dgm:pt modelId="{B7D12D94-896B-144A-AE5F-2C35D5C921A5}" type="pres">
      <dgm:prSet presAssocID="{D41D9EE4-F3E2-874F-A402-4D444FF4CF07}" presName="sp1" presStyleCnt="0"/>
      <dgm:spPr/>
    </dgm:pt>
    <dgm:pt modelId="{277E2344-30CE-C84B-A3BD-34CBAD4B2AA0}" type="pres">
      <dgm:prSet presAssocID="{D41D9EE4-F3E2-874F-A402-4D444FF4CF07}" presName="sp2" presStyleCnt="0"/>
      <dgm:spPr/>
    </dgm:pt>
  </dgm:ptLst>
  <dgm:cxnLst>
    <dgm:cxn modelId="{E7942D04-42C8-AB4B-BD4B-EAC76C612F90}" type="presOf" srcId="{D5629F3A-6222-7049-AF88-6CA217E276C7}" destId="{E70657E4-DCDC-C44A-BBB0-F13D121B0C53}" srcOrd="0" destOrd="0" presId="urn:microsoft.com/office/officeart/2005/8/layout/cycle3"/>
    <dgm:cxn modelId="{4544EA7B-DEE6-3347-82AD-9B2D39E1C452}" srcId="{D41D9EE4-F3E2-874F-A402-4D444FF4CF07}" destId="{DA6F26F5-3359-F940-B966-919928D93465}" srcOrd="0" destOrd="0" parTransId="{6E6F6E1E-E1B5-4E40-82BB-91A9980E8B02}" sibTransId="{D5629F3A-6222-7049-AF88-6CA217E276C7}"/>
    <dgm:cxn modelId="{140862A5-B6B5-6B44-BF6F-360A1A146485}" type="presOf" srcId="{DA6F26F5-3359-F940-B966-919928D93465}" destId="{CECE4DF9-09A0-434A-8499-B8DFAB2AD351}" srcOrd="0" destOrd="0" presId="urn:microsoft.com/office/officeart/2005/8/layout/cycle3"/>
    <dgm:cxn modelId="{A9AB9FBE-9B9C-084A-9D3F-7794F56A54B3}" type="presOf" srcId="{D41D9EE4-F3E2-874F-A402-4D444FF4CF07}" destId="{3D30DA31-1880-3D46-83B1-BD4F8E9A094E}" srcOrd="0" destOrd="0" presId="urn:microsoft.com/office/officeart/2005/8/layout/cycle3"/>
    <dgm:cxn modelId="{AE83C8D8-FCCC-394B-B567-DD250F9C641E}" type="presOf" srcId="{D34DFAE8-5512-364B-BE25-E1A744E231F2}" destId="{11538585-9A04-0148-B69C-8DE801BB274F}" srcOrd="0" destOrd="0" presId="urn:microsoft.com/office/officeart/2005/8/layout/cycle3"/>
    <dgm:cxn modelId="{3C7471E3-C6F9-6D42-8DB0-B54526DA64C0}" srcId="{D41D9EE4-F3E2-874F-A402-4D444FF4CF07}" destId="{D34DFAE8-5512-364B-BE25-E1A744E231F2}" srcOrd="1" destOrd="0" parTransId="{DC4E9328-97B7-DE4F-B36A-52EBACCAE2DE}" sibTransId="{A04680DD-C7FD-D142-9390-BA33EDC06C7D}"/>
    <dgm:cxn modelId="{3E37D156-9E66-7440-A0D0-8257B72116A6}" type="presParOf" srcId="{3D30DA31-1880-3D46-83B1-BD4F8E9A094E}" destId="{CECE4DF9-09A0-434A-8499-B8DFAB2AD351}" srcOrd="0" destOrd="0" presId="urn:microsoft.com/office/officeart/2005/8/layout/cycle3"/>
    <dgm:cxn modelId="{C998D43C-B78F-F345-A856-EC57B99FBE42}" type="presParOf" srcId="{3D30DA31-1880-3D46-83B1-BD4F8E9A094E}" destId="{E70657E4-DCDC-C44A-BBB0-F13D121B0C53}" srcOrd="1" destOrd="0" presId="urn:microsoft.com/office/officeart/2005/8/layout/cycle3"/>
    <dgm:cxn modelId="{1E2F5E11-CEEF-F04B-9023-935894347E44}" type="presParOf" srcId="{3D30DA31-1880-3D46-83B1-BD4F8E9A094E}" destId="{11538585-9A04-0148-B69C-8DE801BB274F}" srcOrd="2" destOrd="0" presId="urn:microsoft.com/office/officeart/2005/8/layout/cycle3"/>
    <dgm:cxn modelId="{9E7E3970-D17A-2946-8867-E6F3932C8042}" type="presParOf" srcId="{3D30DA31-1880-3D46-83B1-BD4F8E9A094E}" destId="{B7D12D94-896B-144A-AE5F-2C35D5C921A5}" srcOrd="3" destOrd="0" presId="urn:microsoft.com/office/officeart/2005/8/layout/cycle3"/>
    <dgm:cxn modelId="{122E19F9-C17A-4B4B-A226-1363CA22E6EC}" type="presParOf" srcId="{3D30DA31-1880-3D46-83B1-BD4F8E9A094E}" destId="{277E2344-30CE-C84B-A3BD-34CBAD4B2AA0}" srcOrd="4" destOrd="0" presId="urn:microsoft.com/office/officeart/2005/8/layout/cycle3"/>
  </dgm:cxnLst>
  <dgm:bg>
    <a:solidFill>
      <a:srgbClr val="CCFFCC"/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332807B-1BEA-1146-933F-3BDDF8DC3D15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092DD21B-213A-3B43-90B9-095B6F571E27}">
      <dgm:prSet phldrT="[Text]"/>
      <dgm:spPr>
        <a:solidFill>
          <a:schemeClr val="bg1"/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iều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ai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ò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ách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iệm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BVTE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ệ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ống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ịch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ụ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BVTE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ính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ống</a:t>
          </a:r>
          <a:endParaRPr lang="en-GB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7AFAD22F-E387-A643-92A6-BD0F781165E2}" type="parTrans" cxnId="{881E5A25-E36A-FA43-8E1E-5A24860A7CCD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5A94A5E3-2D59-CB40-80C0-4F8813A88C42}" type="sibTrans" cxnId="{881E5A25-E36A-FA43-8E1E-5A24860A7CCD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31517AF8-344C-2143-BEC5-8615FF32DD3B}" type="asst">
      <dgm:prSet phldrT="[Text]"/>
      <dgm:spPr>
        <a:solidFill>
          <a:schemeClr val="bg1"/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ách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iệm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ày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ân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chia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ành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4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</a:t>
          </a:r>
          <a:endParaRPr lang="en-GB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ACE14FDC-FE6F-4443-8F17-07D7DF9F1813}" type="parTrans" cxnId="{CD7E8BE1-4D6A-F84A-A8E4-5D0BA4A2CFFD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4BB26614-2041-7240-A9DF-503AB88F95C4}" type="sibTrans" cxnId="{CD7E8BE1-4D6A-F84A-A8E4-5D0BA4A2CFFD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79CDDEFB-CBAF-E146-AC2E-3D8F6E00E520}">
      <dgm:prSet phldrT="[Text]"/>
      <dgm:spPr>
        <a:solidFill>
          <a:srgbClr val="FFFF00"/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1</a:t>
          </a:r>
        </a:p>
      </dgm:t>
    </dgm:pt>
    <dgm:pt modelId="{CF6C9AF9-8E02-D747-A8C9-1BE04697F0B1}" type="parTrans" cxnId="{7C952215-2BBA-FA47-98C6-28D2C1CEA4A5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451F7F89-4529-A047-A2FE-C1AEDB71BA42}" type="sibTrans" cxnId="{7C952215-2BBA-FA47-98C6-28D2C1CEA4A5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7C228ECF-7E0A-EC44-8C79-52D0F4924CFF}">
      <dgm:prSet phldrT="[Text]"/>
      <dgm:spPr>
        <a:solidFill>
          <a:schemeClr val="bg1"/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2A</a:t>
          </a:r>
        </a:p>
      </dgm:t>
    </dgm:pt>
    <dgm:pt modelId="{C9B0ECC6-5591-084A-B08E-AE8C0DCBDBD2}" type="parTrans" cxnId="{AF370EA2-3AE2-5B46-BA00-29D02494A3E5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16A3EB53-6022-9C45-A9F4-45F0D55DD409}" type="sibTrans" cxnId="{AF370EA2-3AE2-5B46-BA00-29D02494A3E5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14E8844D-9FE6-044E-AC44-552A742F1EBF}">
      <dgm:prSet phldrT="[Text]"/>
      <dgm:spPr>
        <a:solidFill>
          <a:schemeClr val="bg1"/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2B</a:t>
          </a:r>
        </a:p>
      </dgm:t>
    </dgm:pt>
    <dgm:pt modelId="{6A52ED11-73CF-9B47-A435-92F5FE0577AA}" type="parTrans" cxnId="{9833F541-ED65-CF48-B213-30FFDA41E49F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3C02DDEB-884B-A64D-8DA2-374C94FA64CC}" type="sibTrans" cxnId="{9833F541-ED65-CF48-B213-30FFDA41E49F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A6E7A270-841F-2C4E-879C-71CDC76234BC}">
      <dgm:prSet phldrT="[Text]"/>
      <dgm:spPr>
        <a:solidFill>
          <a:schemeClr val="bg1"/>
        </a:solidFill>
      </dgm:spPr>
      <dgm:t>
        <a:bodyPr/>
        <a:lstStyle/>
        <a:p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3</a:t>
          </a:r>
        </a:p>
      </dgm:t>
    </dgm:pt>
    <dgm:pt modelId="{4BC897CD-459E-7048-A5AA-46405BCE0432}" type="parTrans" cxnId="{2B94A321-A5BA-B946-89A1-E4A8557AA8A3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8C95200F-C8E7-9743-80A7-F9239852CA81}" type="sibTrans" cxnId="{2B94A321-A5BA-B946-89A1-E4A8557AA8A3}">
      <dgm:prSet/>
      <dgm:spPr/>
      <dgm:t>
        <a:bodyPr/>
        <a:lstStyle/>
        <a:p>
          <a:endParaRPr lang="en-GB">
            <a:solidFill>
              <a:schemeClr val="tx1"/>
            </a:solidFill>
          </a:endParaRPr>
        </a:p>
      </dgm:t>
    </dgm:pt>
    <dgm:pt modelId="{5F2053A7-ECB5-464A-8977-C1E58927EDBA}" type="pres">
      <dgm:prSet presAssocID="{5332807B-1BEA-1146-933F-3BDDF8DC3D1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2A6C7117-E788-4E44-9686-642E54A1FCFA}" type="pres">
      <dgm:prSet presAssocID="{092DD21B-213A-3B43-90B9-095B6F571E27}" presName="hierRoot1" presStyleCnt="0">
        <dgm:presLayoutVars>
          <dgm:hierBranch val="init"/>
        </dgm:presLayoutVars>
      </dgm:prSet>
      <dgm:spPr/>
    </dgm:pt>
    <dgm:pt modelId="{84222332-82F6-8045-8352-8F89890B77E2}" type="pres">
      <dgm:prSet presAssocID="{092DD21B-213A-3B43-90B9-095B6F571E27}" presName="rootComposite1" presStyleCnt="0"/>
      <dgm:spPr/>
    </dgm:pt>
    <dgm:pt modelId="{BB8B1E26-6FFF-2448-920E-393C5DDCA88F}" type="pres">
      <dgm:prSet presAssocID="{092DD21B-213A-3B43-90B9-095B6F571E27}" presName="rootText1" presStyleLbl="node0" presStyleIdx="0" presStyleCnt="1" custScaleX="227523">
        <dgm:presLayoutVars>
          <dgm:chPref val="3"/>
        </dgm:presLayoutVars>
      </dgm:prSet>
      <dgm:spPr/>
    </dgm:pt>
    <dgm:pt modelId="{5CEA859E-1087-7941-B7C4-1E096ECD55F1}" type="pres">
      <dgm:prSet presAssocID="{092DD21B-213A-3B43-90B9-095B6F571E27}" presName="rootConnector1" presStyleLbl="node1" presStyleIdx="0" presStyleCnt="0"/>
      <dgm:spPr/>
    </dgm:pt>
    <dgm:pt modelId="{C99328DB-0D4C-4340-B3C3-EAC75F449AC8}" type="pres">
      <dgm:prSet presAssocID="{092DD21B-213A-3B43-90B9-095B6F571E27}" presName="hierChild2" presStyleCnt="0"/>
      <dgm:spPr/>
    </dgm:pt>
    <dgm:pt modelId="{91DD78EC-5CA0-784E-A6A4-C7E26D49E8D8}" type="pres">
      <dgm:prSet presAssocID="{CF6C9AF9-8E02-D747-A8C9-1BE04697F0B1}" presName="Name37" presStyleLbl="parChTrans1D2" presStyleIdx="0" presStyleCnt="5"/>
      <dgm:spPr/>
    </dgm:pt>
    <dgm:pt modelId="{902FDC3E-7898-9E42-9289-A17546264706}" type="pres">
      <dgm:prSet presAssocID="{79CDDEFB-CBAF-E146-AC2E-3D8F6E00E520}" presName="hierRoot2" presStyleCnt="0">
        <dgm:presLayoutVars>
          <dgm:hierBranch val="init"/>
        </dgm:presLayoutVars>
      </dgm:prSet>
      <dgm:spPr/>
    </dgm:pt>
    <dgm:pt modelId="{8D755FEC-1AC4-FF45-B7DA-6E7778D6AF5A}" type="pres">
      <dgm:prSet presAssocID="{79CDDEFB-CBAF-E146-AC2E-3D8F6E00E520}" presName="rootComposite" presStyleCnt="0"/>
      <dgm:spPr/>
    </dgm:pt>
    <dgm:pt modelId="{8FA6D1B5-D2F3-C74F-9F04-CFCDB297F3C3}" type="pres">
      <dgm:prSet presAssocID="{79CDDEFB-CBAF-E146-AC2E-3D8F6E00E520}" presName="rootText" presStyleLbl="node2" presStyleIdx="0" presStyleCnt="4">
        <dgm:presLayoutVars>
          <dgm:chPref val="3"/>
        </dgm:presLayoutVars>
      </dgm:prSet>
      <dgm:spPr/>
    </dgm:pt>
    <dgm:pt modelId="{ADF7B9F3-4B13-1443-9B7E-8FE78CEA9396}" type="pres">
      <dgm:prSet presAssocID="{79CDDEFB-CBAF-E146-AC2E-3D8F6E00E520}" presName="rootConnector" presStyleLbl="node2" presStyleIdx="0" presStyleCnt="4"/>
      <dgm:spPr/>
    </dgm:pt>
    <dgm:pt modelId="{230BA6C7-BE92-5D4C-95FA-201D3053AB4D}" type="pres">
      <dgm:prSet presAssocID="{79CDDEFB-CBAF-E146-AC2E-3D8F6E00E520}" presName="hierChild4" presStyleCnt="0"/>
      <dgm:spPr/>
    </dgm:pt>
    <dgm:pt modelId="{EE1701DE-B0AC-7E43-91C2-BB8758B80703}" type="pres">
      <dgm:prSet presAssocID="{79CDDEFB-CBAF-E146-AC2E-3D8F6E00E520}" presName="hierChild5" presStyleCnt="0"/>
      <dgm:spPr/>
    </dgm:pt>
    <dgm:pt modelId="{0C1E9E36-9C25-ED4C-A894-367EEBCD67E0}" type="pres">
      <dgm:prSet presAssocID="{C9B0ECC6-5591-084A-B08E-AE8C0DCBDBD2}" presName="Name37" presStyleLbl="parChTrans1D2" presStyleIdx="1" presStyleCnt="5"/>
      <dgm:spPr/>
    </dgm:pt>
    <dgm:pt modelId="{2A91B58D-1745-EE4B-B8B6-A6D830A9DD62}" type="pres">
      <dgm:prSet presAssocID="{7C228ECF-7E0A-EC44-8C79-52D0F4924CFF}" presName="hierRoot2" presStyleCnt="0">
        <dgm:presLayoutVars>
          <dgm:hierBranch val="init"/>
        </dgm:presLayoutVars>
      </dgm:prSet>
      <dgm:spPr/>
    </dgm:pt>
    <dgm:pt modelId="{D88B6827-B9F4-B444-8F1B-06532102577E}" type="pres">
      <dgm:prSet presAssocID="{7C228ECF-7E0A-EC44-8C79-52D0F4924CFF}" presName="rootComposite" presStyleCnt="0"/>
      <dgm:spPr/>
    </dgm:pt>
    <dgm:pt modelId="{970DB932-4CEA-C748-BBF1-791683D6CC51}" type="pres">
      <dgm:prSet presAssocID="{7C228ECF-7E0A-EC44-8C79-52D0F4924CFF}" presName="rootText" presStyleLbl="node2" presStyleIdx="1" presStyleCnt="4">
        <dgm:presLayoutVars>
          <dgm:chPref val="3"/>
        </dgm:presLayoutVars>
      </dgm:prSet>
      <dgm:spPr/>
    </dgm:pt>
    <dgm:pt modelId="{082E7B4D-2B6E-7643-829B-EACC6B03A0F6}" type="pres">
      <dgm:prSet presAssocID="{7C228ECF-7E0A-EC44-8C79-52D0F4924CFF}" presName="rootConnector" presStyleLbl="node2" presStyleIdx="1" presStyleCnt="4"/>
      <dgm:spPr/>
    </dgm:pt>
    <dgm:pt modelId="{20AD19D6-66CB-C942-BED4-590080ACEE13}" type="pres">
      <dgm:prSet presAssocID="{7C228ECF-7E0A-EC44-8C79-52D0F4924CFF}" presName="hierChild4" presStyleCnt="0"/>
      <dgm:spPr/>
    </dgm:pt>
    <dgm:pt modelId="{F90171E7-F3C5-9B4B-A4A1-8CC8A7C8C80C}" type="pres">
      <dgm:prSet presAssocID="{7C228ECF-7E0A-EC44-8C79-52D0F4924CFF}" presName="hierChild5" presStyleCnt="0"/>
      <dgm:spPr/>
    </dgm:pt>
    <dgm:pt modelId="{9D41BA4F-6939-CB43-8B29-1C706EB4B2EA}" type="pres">
      <dgm:prSet presAssocID="{6A52ED11-73CF-9B47-A435-92F5FE0577AA}" presName="Name37" presStyleLbl="parChTrans1D2" presStyleIdx="2" presStyleCnt="5"/>
      <dgm:spPr/>
    </dgm:pt>
    <dgm:pt modelId="{2EB6184A-05C9-604A-A5A6-F6506F079EB5}" type="pres">
      <dgm:prSet presAssocID="{14E8844D-9FE6-044E-AC44-552A742F1EBF}" presName="hierRoot2" presStyleCnt="0">
        <dgm:presLayoutVars>
          <dgm:hierBranch val="init"/>
        </dgm:presLayoutVars>
      </dgm:prSet>
      <dgm:spPr/>
    </dgm:pt>
    <dgm:pt modelId="{CE916CA5-DC34-C44E-A1EC-829649CBC072}" type="pres">
      <dgm:prSet presAssocID="{14E8844D-9FE6-044E-AC44-552A742F1EBF}" presName="rootComposite" presStyleCnt="0"/>
      <dgm:spPr/>
    </dgm:pt>
    <dgm:pt modelId="{A100592B-F90E-4E40-BCB3-657F772DEB7A}" type="pres">
      <dgm:prSet presAssocID="{14E8844D-9FE6-044E-AC44-552A742F1EBF}" presName="rootText" presStyleLbl="node2" presStyleIdx="2" presStyleCnt="4">
        <dgm:presLayoutVars>
          <dgm:chPref val="3"/>
        </dgm:presLayoutVars>
      </dgm:prSet>
      <dgm:spPr/>
    </dgm:pt>
    <dgm:pt modelId="{1554FE11-2BEC-E245-9AED-1C8EFAC3BC0E}" type="pres">
      <dgm:prSet presAssocID="{14E8844D-9FE6-044E-AC44-552A742F1EBF}" presName="rootConnector" presStyleLbl="node2" presStyleIdx="2" presStyleCnt="4"/>
      <dgm:spPr/>
    </dgm:pt>
    <dgm:pt modelId="{C6696BAA-8734-6440-A1A6-8E01CB865D85}" type="pres">
      <dgm:prSet presAssocID="{14E8844D-9FE6-044E-AC44-552A742F1EBF}" presName="hierChild4" presStyleCnt="0"/>
      <dgm:spPr/>
    </dgm:pt>
    <dgm:pt modelId="{B1395292-ECC6-8245-9547-B879978B945F}" type="pres">
      <dgm:prSet presAssocID="{14E8844D-9FE6-044E-AC44-552A742F1EBF}" presName="hierChild5" presStyleCnt="0"/>
      <dgm:spPr/>
    </dgm:pt>
    <dgm:pt modelId="{0C5B6FAE-4A08-2840-B2AE-E3625A3FF85B}" type="pres">
      <dgm:prSet presAssocID="{4BC897CD-459E-7048-A5AA-46405BCE0432}" presName="Name37" presStyleLbl="parChTrans1D2" presStyleIdx="3" presStyleCnt="5"/>
      <dgm:spPr/>
    </dgm:pt>
    <dgm:pt modelId="{34A9A03D-BEAC-D14C-A3B2-D203F4A64774}" type="pres">
      <dgm:prSet presAssocID="{A6E7A270-841F-2C4E-879C-71CDC76234BC}" presName="hierRoot2" presStyleCnt="0">
        <dgm:presLayoutVars>
          <dgm:hierBranch val="init"/>
        </dgm:presLayoutVars>
      </dgm:prSet>
      <dgm:spPr/>
    </dgm:pt>
    <dgm:pt modelId="{0F90EA03-D715-2E47-B3FF-DBF2EBD73EAC}" type="pres">
      <dgm:prSet presAssocID="{A6E7A270-841F-2C4E-879C-71CDC76234BC}" presName="rootComposite" presStyleCnt="0"/>
      <dgm:spPr/>
    </dgm:pt>
    <dgm:pt modelId="{E29E2480-622F-0846-99F2-83682CAD65E5}" type="pres">
      <dgm:prSet presAssocID="{A6E7A270-841F-2C4E-879C-71CDC76234BC}" presName="rootText" presStyleLbl="node2" presStyleIdx="3" presStyleCnt="4">
        <dgm:presLayoutVars>
          <dgm:chPref val="3"/>
        </dgm:presLayoutVars>
      </dgm:prSet>
      <dgm:spPr/>
    </dgm:pt>
    <dgm:pt modelId="{AD81C137-ABEE-1041-A816-1036F630F9A0}" type="pres">
      <dgm:prSet presAssocID="{A6E7A270-841F-2C4E-879C-71CDC76234BC}" presName="rootConnector" presStyleLbl="node2" presStyleIdx="3" presStyleCnt="4"/>
      <dgm:spPr/>
    </dgm:pt>
    <dgm:pt modelId="{3D449D05-8777-0648-B40B-457ADDE2F8E4}" type="pres">
      <dgm:prSet presAssocID="{A6E7A270-841F-2C4E-879C-71CDC76234BC}" presName="hierChild4" presStyleCnt="0"/>
      <dgm:spPr/>
    </dgm:pt>
    <dgm:pt modelId="{D7F54FE2-DA88-AF40-B389-D42A5B1698AA}" type="pres">
      <dgm:prSet presAssocID="{A6E7A270-841F-2C4E-879C-71CDC76234BC}" presName="hierChild5" presStyleCnt="0"/>
      <dgm:spPr/>
    </dgm:pt>
    <dgm:pt modelId="{51204248-4A50-8140-9676-7B5F64E04E89}" type="pres">
      <dgm:prSet presAssocID="{092DD21B-213A-3B43-90B9-095B6F571E27}" presName="hierChild3" presStyleCnt="0"/>
      <dgm:spPr/>
    </dgm:pt>
    <dgm:pt modelId="{E0AB6695-9CA0-CA41-9198-7FAE33DA7CBB}" type="pres">
      <dgm:prSet presAssocID="{ACE14FDC-FE6F-4443-8F17-07D7DF9F1813}" presName="Name111" presStyleLbl="parChTrans1D2" presStyleIdx="4" presStyleCnt="5"/>
      <dgm:spPr/>
    </dgm:pt>
    <dgm:pt modelId="{95F24056-E8AB-4148-BC84-667A360B34DA}" type="pres">
      <dgm:prSet presAssocID="{31517AF8-344C-2143-BEC5-8615FF32DD3B}" presName="hierRoot3" presStyleCnt="0">
        <dgm:presLayoutVars>
          <dgm:hierBranch val="init"/>
        </dgm:presLayoutVars>
      </dgm:prSet>
      <dgm:spPr/>
    </dgm:pt>
    <dgm:pt modelId="{EE185185-578F-8E49-9997-2AD4DED0534E}" type="pres">
      <dgm:prSet presAssocID="{31517AF8-344C-2143-BEC5-8615FF32DD3B}" presName="rootComposite3" presStyleCnt="0"/>
      <dgm:spPr/>
    </dgm:pt>
    <dgm:pt modelId="{29C373C0-FDE7-0644-A46C-8FB1A35538DA}" type="pres">
      <dgm:prSet presAssocID="{31517AF8-344C-2143-BEC5-8615FF32DD3B}" presName="rootText3" presStyleLbl="asst1" presStyleIdx="0" presStyleCnt="1">
        <dgm:presLayoutVars>
          <dgm:chPref val="3"/>
        </dgm:presLayoutVars>
      </dgm:prSet>
      <dgm:spPr/>
    </dgm:pt>
    <dgm:pt modelId="{C5639B2A-F82C-774C-94B6-EC8140D5DF6E}" type="pres">
      <dgm:prSet presAssocID="{31517AF8-344C-2143-BEC5-8615FF32DD3B}" presName="rootConnector3" presStyleLbl="asst1" presStyleIdx="0" presStyleCnt="1"/>
      <dgm:spPr/>
    </dgm:pt>
    <dgm:pt modelId="{DB12737B-C287-2B4F-B7B7-C143019131C7}" type="pres">
      <dgm:prSet presAssocID="{31517AF8-344C-2143-BEC5-8615FF32DD3B}" presName="hierChild6" presStyleCnt="0"/>
      <dgm:spPr/>
    </dgm:pt>
    <dgm:pt modelId="{FE43A6D9-F2B2-644E-8377-B586F3FB0403}" type="pres">
      <dgm:prSet presAssocID="{31517AF8-344C-2143-BEC5-8615FF32DD3B}" presName="hierChild7" presStyleCnt="0"/>
      <dgm:spPr/>
    </dgm:pt>
  </dgm:ptLst>
  <dgm:cxnLst>
    <dgm:cxn modelId="{7C952215-2BBA-FA47-98C6-28D2C1CEA4A5}" srcId="{092DD21B-213A-3B43-90B9-095B6F571E27}" destId="{79CDDEFB-CBAF-E146-AC2E-3D8F6E00E520}" srcOrd="1" destOrd="0" parTransId="{CF6C9AF9-8E02-D747-A8C9-1BE04697F0B1}" sibTransId="{451F7F89-4529-A047-A2FE-C1AEDB71BA42}"/>
    <dgm:cxn modelId="{2B94A321-A5BA-B946-89A1-E4A8557AA8A3}" srcId="{092DD21B-213A-3B43-90B9-095B6F571E27}" destId="{A6E7A270-841F-2C4E-879C-71CDC76234BC}" srcOrd="4" destOrd="0" parTransId="{4BC897CD-459E-7048-A5AA-46405BCE0432}" sibTransId="{8C95200F-C8E7-9743-80A7-F9239852CA81}"/>
    <dgm:cxn modelId="{A48C6E23-2803-D34F-8DD5-6DE48DEC0AF5}" type="presOf" srcId="{79CDDEFB-CBAF-E146-AC2E-3D8F6E00E520}" destId="{ADF7B9F3-4B13-1443-9B7E-8FE78CEA9396}" srcOrd="1" destOrd="0" presId="urn:microsoft.com/office/officeart/2005/8/layout/orgChart1"/>
    <dgm:cxn modelId="{881E5A25-E36A-FA43-8E1E-5A24860A7CCD}" srcId="{5332807B-1BEA-1146-933F-3BDDF8DC3D15}" destId="{092DD21B-213A-3B43-90B9-095B6F571E27}" srcOrd="0" destOrd="0" parTransId="{7AFAD22F-E387-A643-92A6-BD0F781165E2}" sibTransId="{5A94A5E3-2D59-CB40-80C0-4F8813A88C42}"/>
    <dgm:cxn modelId="{96221D27-0B99-8643-9A28-AB4903CF5A4E}" type="presOf" srcId="{A6E7A270-841F-2C4E-879C-71CDC76234BC}" destId="{AD81C137-ABEE-1041-A816-1036F630F9A0}" srcOrd="1" destOrd="0" presId="urn:microsoft.com/office/officeart/2005/8/layout/orgChart1"/>
    <dgm:cxn modelId="{D7DB5B28-3779-9640-96BF-B278C68FD58C}" type="presOf" srcId="{4BC897CD-459E-7048-A5AA-46405BCE0432}" destId="{0C5B6FAE-4A08-2840-B2AE-E3625A3FF85B}" srcOrd="0" destOrd="0" presId="urn:microsoft.com/office/officeart/2005/8/layout/orgChart1"/>
    <dgm:cxn modelId="{04232B2F-C1FB-034C-AE08-62D53C62B162}" type="presOf" srcId="{31517AF8-344C-2143-BEC5-8615FF32DD3B}" destId="{29C373C0-FDE7-0644-A46C-8FB1A35538DA}" srcOrd="0" destOrd="0" presId="urn:microsoft.com/office/officeart/2005/8/layout/orgChart1"/>
    <dgm:cxn modelId="{CEA8BB30-3AAE-174A-A660-3B91E8AF7E46}" type="presOf" srcId="{31517AF8-344C-2143-BEC5-8615FF32DD3B}" destId="{C5639B2A-F82C-774C-94B6-EC8140D5DF6E}" srcOrd="1" destOrd="0" presId="urn:microsoft.com/office/officeart/2005/8/layout/orgChart1"/>
    <dgm:cxn modelId="{DD22BD5E-8EB7-9E41-871B-CE39BC7722BE}" type="presOf" srcId="{A6E7A270-841F-2C4E-879C-71CDC76234BC}" destId="{E29E2480-622F-0846-99F2-83682CAD65E5}" srcOrd="0" destOrd="0" presId="urn:microsoft.com/office/officeart/2005/8/layout/orgChart1"/>
    <dgm:cxn modelId="{9833F541-ED65-CF48-B213-30FFDA41E49F}" srcId="{092DD21B-213A-3B43-90B9-095B6F571E27}" destId="{14E8844D-9FE6-044E-AC44-552A742F1EBF}" srcOrd="3" destOrd="0" parTransId="{6A52ED11-73CF-9B47-A435-92F5FE0577AA}" sibTransId="{3C02DDEB-884B-A64D-8DA2-374C94FA64CC}"/>
    <dgm:cxn modelId="{15308D44-55A6-654D-A3FC-1FB14D24317E}" type="presOf" srcId="{CF6C9AF9-8E02-D747-A8C9-1BE04697F0B1}" destId="{91DD78EC-5CA0-784E-A6A4-C7E26D49E8D8}" srcOrd="0" destOrd="0" presId="urn:microsoft.com/office/officeart/2005/8/layout/orgChart1"/>
    <dgm:cxn modelId="{11D70A7D-4261-0B4A-85C3-83A4AAA7073A}" type="presOf" srcId="{14E8844D-9FE6-044E-AC44-552A742F1EBF}" destId="{A100592B-F90E-4E40-BCB3-657F772DEB7A}" srcOrd="0" destOrd="0" presId="urn:microsoft.com/office/officeart/2005/8/layout/orgChart1"/>
    <dgm:cxn modelId="{FCE41E82-F45E-284E-9105-8E01DE40A22F}" type="presOf" srcId="{79CDDEFB-CBAF-E146-AC2E-3D8F6E00E520}" destId="{8FA6D1B5-D2F3-C74F-9F04-CFCDB297F3C3}" srcOrd="0" destOrd="0" presId="urn:microsoft.com/office/officeart/2005/8/layout/orgChart1"/>
    <dgm:cxn modelId="{34929CA0-F8FD-E041-BEAE-0D4C25E52E1F}" type="presOf" srcId="{ACE14FDC-FE6F-4443-8F17-07D7DF9F1813}" destId="{E0AB6695-9CA0-CA41-9198-7FAE33DA7CBB}" srcOrd="0" destOrd="0" presId="urn:microsoft.com/office/officeart/2005/8/layout/orgChart1"/>
    <dgm:cxn modelId="{AF370EA2-3AE2-5B46-BA00-29D02494A3E5}" srcId="{092DD21B-213A-3B43-90B9-095B6F571E27}" destId="{7C228ECF-7E0A-EC44-8C79-52D0F4924CFF}" srcOrd="2" destOrd="0" parTransId="{C9B0ECC6-5591-084A-B08E-AE8C0DCBDBD2}" sibTransId="{16A3EB53-6022-9C45-A9F4-45F0D55DD409}"/>
    <dgm:cxn modelId="{DE9FCEC2-EE2F-A643-B59C-7A3C9863B147}" type="presOf" srcId="{C9B0ECC6-5591-084A-B08E-AE8C0DCBDBD2}" destId="{0C1E9E36-9C25-ED4C-A894-367EEBCD67E0}" srcOrd="0" destOrd="0" presId="urn:microsoft.com/office/officeart/2005/8/layout/orgChart1"/>
    <dgm:cxn modelId="{EE0E69C5-185F-034A-8109-1234CBCE4752}" type="presOf" srcId="{092DD21B-213A-3B43-90B9-095B6F571E27}" destId="{BB8B1E26-6FFF-2448-920E-393C5DDCA88F}" srcOrd="0" destOrd="0" presId="urn:microsoft.com/office/officeart/2005/8/layout/orgChart1"/>
    <dgm:cxn modelId="{5EA318CA-95D6-F944-915E-58C1AB0136AB}" type="presOf" srcId="{7C228ECF-7E0A-EC44-8C79-52D0F4924CFF}" destId="{082E7B4D-2B6E-7643-829B-EACC6B03A0F6}" srcOrd="1" destOrd="0" presId="urn:microsoft.com/office/officeart/2005/8/layout/orgChart1"/>
    <dgm:cxn modelId="{B5CBF4D6-6F6D-FE4C-91EE-BAADA16BEAB0}" type="presOf" srcId="{14E8844D-9FE6-044E-AC44-552A742F1EBF}" destId="{1554FE11-2BEC-E245-9AED-1C8EFAC3BC0E}" srcOrd="1" destOrd="0" presId="urn:microsoft.com/office/officeart/2005/8/layout/orgChart1"/>
    <dgm:cxn modelId="{CD7E8BE1-4D6A-F84A-A8E4-5D0BA4A2CFFD}" srcId="{092DD21B-213A-3B43-90B9-095B6F571E27}" destId="{31517AF8-344C-2143-BEC5-8615FF32DD3B}" srcOrd="0" destOrd="0" parTransId="{ACE14FDC-FE6F-4443-8F17-07D7DF9F1813}" sibTransId="{4BB26614-2041-7240-A9DF-503AB88F95C4}"/>
    <dgm:cxn modelId="{971039EC-E945-5E4C-BCC4-D309AE9D16B7}" type="presOf" srcId="{6A52ED11-73CF-9B47-A435-92F5FE0577AA}" destId="{9D41BA4F-6939-CB43-8B29-1C706EB4B2EA}" srcOrd="0" destOrd="0" presId="urn:microsoft.com/office/officeart/2005/8/layout/orgChart1"/>
    <dgm:cxn modelId="{A24F3BF1-D0F3-AC49-933D-D648F293AC4B}" type="presOf" srcId="{5332807B-1BEA-1146-933F-3BDDF8DC3D15}" destId="{5F2053A7-ECB5-464A-8977-C1E58927EDBA}" srcOrd="0" destOrd="0" presId="urn:microsoft.com/office/officeart/2005/8/layout/orgChart1"/>
    <dgm:cxn modelId="{880572F6-4D4B-844E-8A30-BF29036ED86E}" type="presOf" srcId="{092DD21B-213A-3B43-90B9-095B6F571E27}" destId="{5CEA859E-1087-7941-B7C4-1E096ECD55F1}" srcOrd="1" destOrd="0" presId="urn:microsoft.com/office/officeart/2005/8/layout/orgChart1"/>
    <dgm:cxn modelId="{27FEC6F8-2354-8845-A45D-07C71C19CBDC}" type="presOf" srcId="{7C228ECF-7E0A-EC44-8C79-52D0F4924CFF}" destId="{970DB932-4CEA-C748-BBF1-791683D6CC51}" srcOrd="0" destOrd="0" presId="urn:microsoft.com/office/officeart/2005/8/layout/orgChart1"/>
    <dgm:cxn modelId="{4A045AB2-CEE4-D14C-9519-4AA8781D83B6}" type="presParOf" srcId="{5F2053A7-ECB5-464A-8977-C1E58927EDBA}" destId="{2A6C7117-E788-4E44-9686-642E54A1FCFA}" srcOrd="0" destOrd="0" presId="urn:microsoft.com/office/officeart/2005/8/layout/orgChart1"/>
    <dgm:cxn modelId="{8D17B930-D355-4748-92DF-CF776B3179BE}" type="presParOf" srcId="{2A6C7117-E788-4E44-9686-642E54A1FCFA}" destId="{84222332-82F6-8045-8352-8F89890B77E2}" srcOrd="0" destOrd="0" presId="urn:microsoft.com/office/officeart/2005/8/layout/orgChart1"/>
    <dgm:cxn modelId="{77C1DE98-60B6-2846-9FB3-56001A653351}" type="presParOf" srcId="{84222332-82F6-8045-8352-8F89890B77E2}" destId="{BB8B1E26-6FFF-2448-920E-393C5DDCA88F}" srcOrd="0" destOrd="0" presId="urn:microsoft.com/office/officeart/2005/8/layout/orgChart1"/>
    <dgm:cxn modelId="{7285D2CD-196F-F34E-BD2A-429C31B777E4}" type="presParOf" srcId="{84222332-82F6-8045-8352-8F89890B77E2}" destId="{5CEA859E-1087-7941-B7C4-1E096ECD55F1}" srcOrd="1" destOrd="0" presId="urn:microsoft.com/office/officeart/2005/8/layout/orgChart1"/>
    <dgm:cxn modelId="{7F2196E0-AC9B-5B40-AD17-15B5C60472CE}" type="presParOf" srcId="{2A6C7117-E788-4E44-9686-642E54A1FCFA}" destId="{C99328DB-0D4C-4340-B3C3-EAC75F449AC8}" srcOrd="1" destOrd="0" presId="urn:microsoft.com/office/officeart/2005/8/layout/orgChart1"/>
    <dgm:cxn modelId="{99521609-42CD-924D-B4D9-ED7416F6D592}" type="presParOf" srcId="{C99328DB-0D4C-4340-B3C3-EAC75F449AC8}" destId="{91DD78EC-5CA0-784E-A6A4-C7E26D49E8D8}" srcOrd="0" destOrd="0" presId="urn:microsoft.com/office/officeart/2005/8/layout/orgChart1"/>
    <dgm:cxn modelId="{6158D2E5-14B4-0D4C-A1C6-4017C2E165CB}" type="presParOf" srcId="{C99328DB-0D4C-4340-B3C3-EAC75F449AC8}" destId="{902FDC3E-7898-9E42-9289-A17546264706}" srcOrd="1" destOrd="0" presId="urn:microsoft.com/office/officeart/2005/8/layout/orgChart1"/>
    <dgm:cxn modelId="{CC6DD851-D8A7-2D4A-8C82-9851EAA41070}" type="presParOf" srcId="{902FDC3E-7898-9E42-9289-A17546264706}" destId="{8D755FEC-1AC4-FF45-B7DA-6E7778D6AF5A}" srcOrd="0" destOrd="0" presId="urn:microsoft.com/office/officeart/2005/8/layout/orgChart1"/>
    <dgm:cxn modelId="{549EFD5E-94CB-FC40-BC24-DDF510F9716D}" type="presParOf" srcId="{8D755FEC-1AC4-FF45-B7DA-6E7778D6AF5A}" destId="{8FA6D1B5-D2F3-C74F-9F04-CFCDB297F3C3}" srcOrd="0" destOrd="0" presId="urn:microsoft.com/office/officeart/2005/8/layout/orgChart1"/>
    <dgm:cxn modelId="{3F279373-E084-EE45-AAD1-A3DA9CD5FEF5}" type="presParOf" srcId="{8D755FEC-1AC4-FF45-B7DA-6E7778D6AF5A}" destId="{ADF7B9F3-4B13-1443-9B7E-8FE78CEA9396}" srcOrd="1" destOrd="0" presId="urn:microsoft.com/office/officeart/2005/8/layout/orgChart1"/>
    <dgm:cxn modelId="{A32BC513-2C11-D647-B6C2-279C0C8AFC80}" type="presParOf" srcId="{902FDC3E-7898-9E42-9289-A17546264706}" destId="{230BA6C7-BE92-5D4C-95FA-201D3053AB4D}" srcOrd="1" destOrd="0" presId="urn:microsoft.com/office/officeart/2005/8/layout/orgChart1"/>
    <dgm:cxn modelId="{DF669046-D4FF-DA42-AAB7-763473AC555C}" type="presParOf" srcId="{902FDC3E-7898-9E42-9289-A17546264706}" destId="{EE1701DE-B0AC-7E43-91C2-BB8758B80703}" srcOrd="2" destOrd="0" presId="urn:microsoft.com/office/officeart/2005/8/layout/orgChart1"/>
    <dgm:cxn modelId="{84C93C72-9991-DA4C-9327-F4B70120B813}" type="presParOf" srcId="{C99328DB-0D4C-4340-B3C3-EAC75F449AC8}" destId="{0C1E9E36-9C25-ED4C-A894-367EEBCD67E0}" srcOrd="2" destOrd="0" presId="urn:microsoft.com/office/officeart/2005/8/layout/orgChart1"/>
    <dgm:cxn modelId="{F4DE4037-E570-3844-A6B1-9A419248D84C}" type="presParOf" srcId="{C99328DB-0D4C-4340-B3C3-EAC75F449AC8}" destId="{2A91B58D-1745-EE4B-B8B6-A6D830A9DD62}" srcOrd="3" destOrd="0" presId="urn:microsoft.com/office/officeart/2005/8/layout/orgChart1"/>
    <dgm:cxn modelId="{C0CA22E2-D341-994A-A514-37A6FA71582B}" type="presParOf" srcId="{2A91B58D-1745-EE4B-B8B6-A6D830A9DD62}" destId="{D88B6827-B9F4-B444-8F1B-06532102577E}" srcOrd="0" destOrd="0" presId="urn:microsoft.com/office/officeart/2005/8/layout/orgChart1"/>
    <dgm:cxn modelId="{3D7C0637-CEA7-8A44-95A6-C930FEE6C718}" type="presParOf" srcId="{D88B6827-B9F4-B444-8F1B-06532102577E}" destId="{970DB932-4CEA-C748-BBF1-791683D6CC51}" srcOrd="0" destOrd="0" presId="urn:microsoft.com/office/officeart/2005/8/layout/orgChart1"/>
    <dgm:cxn modelId="{E98329BE-59FB-0D42-82EB-0AEBD386CD81}" type="presParOf" srcId="{D88B6827-B9F4-B444-8F1B-06532102577E}" destId="{082E7B4D-2B6E-7643-829B-EACC6B03A0F6}" srcOrd="1" destOrd="0" presId="urn:microsoft.com/office/officeart/2005/8/layout/orgChart1"/>
    <dgm:cxn modelId="{47CC2568-FDFE-C442-BF23-D4D41A6AC30A}" type="presParOf" srcId="{2A91B58D-1745-EE4B-B8B6-A6D830A9DD62}" destId="{20AD19D6-66CB-C942-BED4-590080ACEE13}" srcOrd="1" destOrd="0" presId="urn:microsoft.com/office/officeart/2005/8/layout/orgChart1"/>
    <dgm:cxn modelId="{2AA2B771-5F36-3C4B-BBA1-60CBF4FB66A0}" type="presParOf" srcId="{2A91B58D-1745-EE4B-B8B6-A6D830A9DD62}" destId="{F90171E7-F3C5-9B4B-A4A1-8CC8A7C8C80C}" srcOrd="2" destOrd="0" presId="urn:microsoft.com/office/officeart/2005/8/layout/orgChart1"/>
    <dgm:cxn modelId="{D3BD3D37-4597-B64A-81DB-466AF4BCE70F}" type="presParOf" srcId="{C99328DB-0D4C-4340-B3C3-EAC75F449AC8}" destId="{9D41BA4F-6939-CB43-8B29-1C706EB4B2EA}" srcOrd="4" destOrd="0" presId="urn:microsoft.com/office/officeart/2005/8/layout/orgChart1"/>
    <dgm:cxn modelId="{84AFE2AB-8F4D-584C-8267-28385E943597}" type="presParOf" srcId="{C99328DB-0D4C-4340-B3C3-EAC75F449AC8}" destId="{2EB6184A-05C9-604A-A5A6-F6506F079EB5}" srcOrd="5" destOrd="0" presId="urn:microsoft.com/office/officeart/2005/8/layout/orgChart1"/>
    <dgm:cxn modelId="{5B022617-E5B3-4C46-ADCC-749C4246EE94}" type="presParOf" srcId="{2EB6184A-05C9-604A-A5A6-F6506F079EB5}" destId="{CE916CA5-DC34-C44E-A1EC-829649CBC072}" srcOrd="0" destOrd="0" presId="urn:microsoft.com/office/officeart/2005/8/layout/orgChart1"/>
    <dgm:cxn modelId="{983D50C4-DADF-A44F-9C03-6F5D370CF6F5}" type="presParOf" srcId="{CE916CA5-DC34-C44E-A1EC-829649CBC072}" destId="{A100592B-F90E-4E40-BCB3-657F772DEB7A}" srcOrd="0" destOrd="0" presId="urn:microsoft.com/office/officeart/2005/8/layout/orgChart1"/>
    <dgm:cxn modelId="{CE50680E-8FE6-0341-A3A5-AD86E4CDFEA4}" type="presParOf" srcId="{CE916CA5-DC34-C44E-A1EC-829649CBC072}" destId="{1554FE11-2BEC-E245-9AED-1C8EFAC3BC0E}" srcOrd="1" destOrd="0" presId="urn:microsoft.com/office/officeart/2005/8/layout/orgChart1"/>
    <dgm:cxn modelId="{BF7F8F34-233B-9046-9943-54EEB908DE97}" type="presParOf" srcId="{2EB6184A-05C9-604A-A5A6-F6506F079EB5}" destId="{C6696BAA-8734-6440-A1A6-8E01CB865D85}" srcOrd="1" destOrd="0" presId="urn:microsoft.com/office/officeart/2005/8/layout/orgChart1"/>
    <dgm:cxn modelId="{8B7B8024-6946-BB41-85CC-4790F4D92900}" type="presParOf" srcId="{2EB6184A-05C9-604A-A5A6-F6506F079EB5}" destId="{B1395292-ECC6-8245-9547-B879978B945F}" srcOrd="2" destOrd="0" presId="urn:microsoft.com/office/officeart/2005/8/layout/orgChart1"/>
    <dgm:cxn modelId="{243DD71C-4684-C14B-A635-D24BF5C19270}" type="presParOf" srcId="{C99328DB-0D4C-4340-B3C3-EAC75F449AC8}" destId="{0C5B6FAE-4A08-2840-B2AE-E3625A3FF85B}" srcOrd="6" destOrd="0" presId="urn:microsoft.com/office/officeart/2005/8/layout/orgChart1"/>
    <dgm:cxn modelId="{3AF05AC1-94D8-5C4A-9EAD-A63B316610A2}" type="presParOf" srcId="{C99328DB-0D4C-4340-B3C3-EAC75F449AC8}" destId="{34A9A03D-BEAC-D14C-A3B2-D203F4A64774}" srcOrd="7" destOrd="0" presId="urn:microsoft.com/office/officeart/2005/8/layout/orgChart1"/>
    <dgm:cxn modelId="{A25419A7-F9F3-CE46-BC25-423F34E4460E}" type="presParOf" srcId="{34A9A03D-BEAC-D14C-A3B2-D203F4A64774}" destId="{0F90EA03-D715-2E47-B3FF-DBF2EBD73EAC}" srcOrd="0" destOrd="0" presId="urn:microsoft.com/office/officeart/2005/8/layout/orgChart1"/>
    <dgm:cxn modelId="{B88C0E05-8F2F-0748-80E3-C82C1E698045}" type="presParOf" srcId="{0F90EA03-D715-2E47-B3FF-DBF2EBD73EAC}" destId="{E29E2480-622F-0846-99F2-83682CAD65E5}" srcOrd="0" destOrd="0" presId="urn:microsoft.com/office/officeart/2005/8/layout/orgChart1"/>
    <dgm:cxn modelId="{553B4E0E-C1D6-3344-A6E8-EDC641C25AB3}" type="presParOf" srcId="{0F90EA03-D715-2E47-B3FF-DBF2EBD73EAC}" destId="{AD81C137-ABEE-1041-A816-1036F630F9A0}" srcOrd="1" destOrd="0" presId="urn:microsoft.com/office/officeart/2005/8/layout/orgChart1"/>
    <dgm:cxn modelId="{8104719A-3953-DB47-8777-01AFEF01BBDD}" type="presParOf" srcId="{34A9A03D-BEAC-D14C-A3B2-D203F4A64774}" destId="{3D449D05-8777-0648-B40B-457ADDE2F8E4}" srcOrd="1" destOrd="0" presId="urn:microsoft.com/office/officeart/2005/8/layout/orgChart1"/>
    <dgm:cxn modelId="{C2571793-A5B1-9F4A-AE28-0B1990DD1EE5}" type="presParOf" srcId="{34A9A03D-BEAC-D14C-A3B2-D203F4A64774}" destId="{D7F54FE2-DA88-AF40-B389-D42A5B1698AA}" srcOrd="2" destOrd="0" presId="urn:microsoft.com/office/officeart/2005/8/layout/orgChart1"/>
    <dgm:cxn modelId="{DDC15D75-E32C-0B4A-A408-EFB8E7713A93}" type="presParOf" srcId="{2A6C7117-E788-4E44-9686-642E54A1FCFA}" destId="{51204248-4A50-8140-9676-7B5F64E04E89}" srcOrd="2" destOrd="0" presId="urn:microsoft.com/office/officeart/2005/8/layout/orgChart1"/>
    <dgm:cxn modelId="{74F29653-4D73-2C41-8BA7-99841F6E863A}" type="presParOf" srcId="{51204248-4A50-8140-9676-7B5F64E04E89}" destId="{E0AB6695-9CA0-CA41-9198-7FAE33DA7CBB}" srcOrd="0" destOrd="0" presId="urn:microsoft.com/office/officeart/2005/8/layout/orgChart1"/>
    <dgm:cxn modelId="{CCC2433C-EC4F-0B41-93A7-B90B760A3161}" type="presParOf" srcId="{51204248-4A50-8140-9676-7B5F64E04E89}" destId="{95F24056-E8AB-4148-BC84-667A360B34DA}" srcOrd="1" destOrd="0" presId="urn:microsoft.com/office/officeart/2005/8/layout/orgChart1"/>
    <dgm:cxn modelId="{15B01808-165D-6D48-ACC2-B363FCF4AD68}" type="presParOf" srcId="{95F24056-E8AB-4148-BC84-667A360B34DA}" destId="{EE185185-578F-8E49-9997-2AD4DED0534E}" srcOrd="0" destOrd="0" presId="urn:microsoft.com/office/officeart/2005/8/layout/orgChart1"/>
    <dgm:cxn modelId="{32085D91-8115-9241-BEE7-14BFC8D1FA2B}" type="presParOf" srcId="{EE185185-578F-8E49-9997-2AD4DED0534E}" destId="{29C373C0-FDE7-0644-A46C-8FB1A35538DA}" srcOrd="0" destOrd="0" presId="urn:microsoft.com/office/officeart/2005/8/layout/orgChart1"/>
    <dgm:cxn modelId="{AA8F012E-60DC-1746-B3AC-FDEE63E9BD66}" type="presParOf" srcId="{EE185185-578F-8E49-9997-2AD4DED0534E}" destId="{C5639B2A-F82C-774C-94B6-EC8140D5DF6E}" srcOrd="1" destOrd="0" presId="urn:microsoft.com/office/officeart/2005/8/layout/orgChart1"/>
    <dgm:cxn modelId="{884CDB34-26EE-1F4C-AD74-8E8E879278E4}" type="presParOf" srcId="{95F24056-E8AB-4148-BC84-667A360B34DA}" destId="{DB12737B-C287-2B4F-B7B7-C143019131C7}" srcOrd="1" destOrd="0" presId="urn:microsoft.com/office/officeart/2005/8/layout/orgChart1"/>
    <dgm:cxn modelId="{D936E7BC-7839-3C44-9CCD-AF1387D9A915}" type="presParOf" srcId="{95F24056-E8AB-4148-BC84-667A360B34DA}" destId="{FE43A6D9-F2B2-644E-8377-B586F3FB0403}" srcOrd="2" destOrd="0" presId="urn:microsoft.com/office/officeart/2005/8/layout/orgChart1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6AB6FBB-BB30-4EAC-A804-37BCB76D6CD4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5AEFE93-1DE7-44D7-83C6-317D671DC4D7}">
      <dgm:prSet phldrT="[Văn bản]"/>
      <dgm:spPr/>
      <dgm:t>
        <a:bodyPr/>
        <a:lstStyle/>
        <a:p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ai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ò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ông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áo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ố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o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-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ân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ộng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ồng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ân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ên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ổ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ức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ai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ò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iêng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iệt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ệ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</a:p>
        <a:p>
          <a:r>
            <a:rPr lang="en-GB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[</a:t>
          </a:r>
          <a:r>
            <a:rPr lang="en-GB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Cán</a:t>
          </a:r>
          <a:r>
            <a:rPr lang="en-GB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bộ</a:t>
          </a:r>
          <a:r>
            <a:rPr lang="en-GB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BVTE </a:t>
          </a:r>
          <a:r>
            <a:rPr lang="en-GB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GB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1]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D67956AB-50CE-41CE-B344-EE8CA6111C12}" type="parTrans" cxnId="{B21F5308-2C8A-4FAC-8ED5-160AFCE4DC1C}">
      <dgm:prSet/>
      <dgm:spPr/>
      <dgm:t>
        <a:bodyPr/>
        <a:lstStyle/>
        <a:p>
          <a:endParaRPr lang="en-US"/>
        </a:p>
      </dgm:t>
    </dgm:pt>
    <dgm:pt modelId="{AAC34809-19F4-453D-97DD-13B72509574C}" type="sibTrans" cxnId="{B21F5308-2C8A-4FAC-8ED5-160AFCE4DC1C}">
      <dgm:prSet/>
      <dgm:spPr/>
      <dgm:t>
        <a:bodyPr/>
        <a:lstStyle/>
        <a:p>
          <a:endParaRPr lang="en-US"/>
        </a:p>
      </dgm:t>
    </dgm:pt>
    <dgm:pt modelId="{BDBADFD6-3023-4925-AF79-5CCE06C8CE68}">
      <dgm:prSet phldrT="[Văn bản]"/>
      <dgm:spPr/>
      <dgm:t>
        <a:bodyPr/>
        <a:lstStyle/>
        <a:p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ai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ò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ệ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ực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[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m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ực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]. </a:t>
          </a:r>
        </a:p>
        <a:p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[</a:t>
          </a:r>
          <a:r>
            <a:rPr lang="en-GB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Cán</a:t>
          </a:r>
          <a:r>
            <a:rPr lang="en-GB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bộ</a:t>
          </a:r>
          <a:r>
            <a:rPr lang="en-GB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BVTE </a:t>
          </a:r>
          <a:r>
            <a:rPr lang="en-GB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GB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2A]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42691C32-7E86-46DC-B05B-04F61E6FA916}" type="parTrans" cxnId="{CDA491AB-1212-4CBD-89B4-6CCB747DA6B0}">
      <dgm:prSet/>
      <dgm:spPr/>
      <dgm:t>
        <a:bodyPr/>
        <a:lstStyle/>
        <a:p>
          <a:endParaRPr lang="en-US"/>
        </a:p>
      </dgm:t>
    </dgm:pt>
    <dgm:pt modelId="{051801A9-E791-48B9-81FE-9B95E5725A81}" type="sibTrans" cxnId="{CDA491AB-1212-4CBD-89B4-6CCB747DA6B0}">
      <dgm:prSet/>
      <dgm:spPr/>
      <dgm:t>
        <a:bodyPr/>
        <a:lstStyle/>
        <a:p>
          <a:endParaRPr lang="en-US"/>
        </a:p>
      </dgm:t>
    </dgm:pt>
    <dgm:pt modelId="{C7D97D42-BBE6-41A7-9D9A-0742F507EBB2}">
      <dgm:prSet phldrT="[Văn bản]"/>
      <dgm:spPr/>
      <dgm:t>
        <a:bodyPr/>
        <a:lstStyle/>
        <a:p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ai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ò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ệ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ực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[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m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ực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]. </a:t>
          </a:r>
        </a:p>
        <a:p>
          <a:r>
            <a:rPr lang="en-GB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[</a:t>
          </a:r>
          <a:r>
            <a:rPr lang="en-GB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Cán</a:t>
          </a:r>
          <a:r>
            <a:rPr lang="en-GB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bộ</a:t>
          </a:r>
          <a:r>
            <a:rPr lang="en-GB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BVTE </a:t>
          </a:r>
          <a:r>
            <a:rPr lang="en-GB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GB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2B]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457B508F-6C5B-4F6A-BA35-498AB3CF652D}" type="parTrans" cxnId="{D1D0B6A9-9571-4EFE-B97B-3BD32A622EFD}">
      <dgm:prSet/>
      <dgm:spPr/>
      <dgm:t>
        <a:bodyPr/>
        <a:lstStyle/>
        <a:p>
          <a:endParaRPr lang="en-US"/>
        </a:p>
      </dgm:t>
    </dgm:pt>
    <dgm:pt modelId="{40B4C798-B84C-4CB9-839B-BD9B88F0C1AD}" type="sibTrans" cxnId="{D1D0B6A9-9571-4EFE-B97B-3BD32A622EFD}">
      <dgm:prSet/>
      <dgm:spPr/>
      <dgm:t>
        <a:bodyPr/>
        <a:lstStyle/>
        <a:p>
          <a:endParaRPr lang="en-US"/>
        </a:p>
      </dgm:t>
    </dgm:pt>
    <dgm:pt modelId="{E003B25B-9643-4889-9820-0BEDF49AEA09}">
      <dgm:prSet phldrT="[Văn bản]"/>
      <dgm:spPr/>
      <dgm:t>
        <a:bodyPr/>
        <a:lstStyle/>
        <a:p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ai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ò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ệ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ực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ân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ên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BVTE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ốt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hiệp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CTXH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ương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ự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 [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m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ực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GB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]. </a:t>
          </a:r>
        </a:p>
        <a:p>
          <a:r>
            <a:rPr lang="en-GB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[</a:t>
          </a:r>
          <a:r>
            <a:rPr lang="en-GB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Cán</a:t>
          </a:r>
          <a:r>
            <a:rPr lang="en-GB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bộ</a:t>
          </a:r>
          <a:r>
            <a:rPr lang="en-GB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BVTE </a:t>
          </a:r>
          <a:r>
            <a:rPr lang="en-GB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GB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3]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8AA2428B-A16C-4E7D-97EC-4913B9FFA88A}" type="parTrans" cxnId="{201D15C4-2D6D-482F-9F48-359014606D06}">
      <dgm:prSet/>
      <dgm:spPr/>
      <dgm:t>
        <a:bodyPr/>
        <a:lstStyle/>
        <a:p>
          <a:endParaRPr lang="en-US"/>
        </a:p>
      </dgm:t>
    </dgm:pt>
    <dgm:pt modelId="{D60D7DF7-260F-491D-BB11-387003FEEC4D}" type="sibTrans" cxnId="{201D15C4-2D6D-482F-9F48-359014606D06}">
      <dgm:prSet/>
      <dgm:spPr/>
      <dgm:t>
        <a:bodyPr/>
        <a:lstStyle/>
        <a:p>
          <a:endParaRPr lang="en-US"/>
        </a:p>
      </dgm:t>
    </dgm:pt>
    <dgm:pt modelId="{546DB674-28A3-4910-A9BF-8B9EDA7F353E}" type="pres">
      <dgm:prSet presAssocID="{06AB6FBB-BB30-4EAC-A804-37BCB76D6CD4}" presName="Name0" presStyleCnt="0">
        <dgm:presLayoutVars>
          <dgm:dir/>
          <dgm:resizeHandles val="exact"/>
        </dgm:presLayoutVars>
      </dgm:prSet>
      <dgm:spPr/>
    </dgm:pt>
    <dgm:pt modelId="{1846B13C-05A4-4E73-8152-EBEBC84569E4}" type="pres">
      <dgm:prSet presAssocID="{06AB6FBB-BB30-4EAC-A804-37BCB76D6CD4}" presName="cycle" presStyleCnt="0"/>
      <dgm:spPr/>
    </dgm:pt>
    <dgm:pt modelId="{297D4673-F153-48F1-81BA-9C6DF90329BC}" type="pres">
      <dgm:prSet presAssocID="{35AEFE93-1DE7-44D7-83C6-317D671DC4D7}" presName="nodeFirstNode" presStyleLbl="node1" presStyleIdx="0" presStyleCnt="4">
        <dgm:presLayoutVars>
          <dgm:bulletEnabled val="1"/>
        </dgm:presLayoutVars>
      </dgm:prSet>
      <dgm:spPr/>
    </dgm:pt>
    <dgm:pt modelId="{73B3C70B-0617-4F52-82EA-5EDEBBA64F38}" type="pres">
      <dgm:prSet presAssocID="{AAC34809-19F4-453D-97DD-13B72509574C}" presName="sibTransFirstNode" presStyleLbl="bgShp" presStyleIdx="0" presStyleCnt="1"/>
      <dgm:spPr/>
    </dgm:pt>
    <dgm:pt modelId="{BE7CE3F1-05B5-4BC6-AE43-9B1D41104992}" type="pres">
      <dgm:prSet presAssocID="{BDBADFD6-3023-4925-AF79-5CCE06C8CE68}" presName="nodeFollowingNodes" presStyleLbl="node1" presStyleIdx="1" presStyleCnt="4">
        <dgm:presLayoutVars>
          <dgm:bulletEnabled val="1"/>
        </dgm:presLayoutVars>
      </dgm:prSet>
      <dgm:spPr/>
    </dgm:pt>
    <dgm:pt modelId="{FE02DED6-B9CF-4DA0-92BE-F48CBDE3B3B2}" type="pres">
      <dgm:prSet presAssocID="{C7D97D42-BBE6-41A7-9D9A-0742F507EBB2}" presName="nodeFollowingNodes" presStyleLbl="node1" presStyleIdx="2" presStyleCnt="4">
        <dgm:presLayoutVars>
          <dgm:bulletEnabled val="1"/>
        </dgm:presLayoutVars>
      </dgm:prSet>
      <dgm:spPr/>
    </dgm:pt>
    <dgm:pt modelId="{2867155C-2404-42C6-AC3F-CCFA28F96CD2}" type="pres">
      <dgm:prSet presAssocID="{E003B25B-9643-4889-9820-0BEDF49AEA09}" presName="nodeFollowingNodes" presStyleLbl="node1" presStyleIdx="3" presStyleCnt="4">
        <dgm:presLayoutVars>
          <dgm:bulletEnabled val="1"/>
        </dgm:presLayoutVars>
      </dgm:prSet>
      <dgm:spPr/>
    </dgm:pt>
  </dgm:ptLst>
  <dgm:cxnLst>
    <dgm:cxn modelId="{B21F5308-2C8A-4FAC-8ED5-160AFCE4DC1C}" srcId="{06AB6FBB-BB30-4EAC-A804-37BCB76D6CD4}" destId="{35AEFE93-1DE7-44D7-83C6-317D671DC4D7}" srcOrd="0" destOrd="0" parTransId="{D67956AB-50CE-41CE-B344-EE8CA6111C12}" sibTransId="{AAC34809-19F4-453D-97DD-13B72509574C}"/>
    <dgm:cxn modelId="{C28FE318-0E0C-4C27-B415-21D73DD015B9}" type="presOf" srcId="{BDBADFD6-3023-4925-AF79-5CCE06C8CE68}" destId="{BE7CE3F1-05B5-4BC6-AE43-9B1D41104992}" srcOrd="0" destOrd="0" presId="urn:microsoft.com/office/officeart/2005/8/layout/cycle3"/>
    <dgm:cxn modelId="{7004DD4A-6096-4B0E-B2F0-A2AB2E054284}" type="presOf" srcId="{E003B25B-9643-4889-9820-0BEDF49AEA09}" destId="{2867155C-2404-42C6-AC3F-CCFA28F96CD2}" srcOrd="0" destOrd="0" presId="urn:microsoft.com/office/officeart/2005/8/layout/cycle3"/>
    <dgm:cxn modelId="{BD40008A-D862-494F-B856-930A0ED89F53}" type="presOf" srcId="{35AEFE93-1DE7-44D7-83C6-317D671DC4D7}" destId="{297D4673-F153-48F1-81BA-9C6DF90329BC}" srcOrd="0" destOrd="0" presId="urn:microsoft.com/office/officeart/2005/8/layout/cycle3"/>
    <dgm:cxn modelId="{B69A67A7-4D9E-481E-993C-D6EBAB7DC839}" type="presOf" srcId="{C7D97D42-BBE6-41A7-9D9A-0742F507EBB2}" destId="{FE02DED6-B9CF-4DA0-92BE-F48CBDE3B3B2}" srcOrd="0" destOrd="0" presId="urn:microsoft.com/office/officeart/2005/8/layout/cycle3"/>
    <dgm:cxn modelId="{D1D0B6A9-9571-4EFE-B97B-3BD32A622EFD}" srcId="{06AB6FBB-BB30-4EAC-A804-37BCB76D6CD4}" destId="{C7D97D42-BBE6-41A7-9D9A-0742F507EBB2}" srcOrd="2" destOrd="0" parTransId="{457B508F-6C5B-4F6A-BA35-498AB3CF652D}" sibTransId="{40B4C798-B84C-4CB9-839B-BD9B88F0C1AD}"/>
    <dgm:cxn modelId="{CDA491AB-1212-4CBD-89B4-6CCB747DA6B0}" srcId="{06AB6FBB-BB30-4EAC-A804-37BCB76D6CD4}" destId="{BDBADFD6-3023-4925-AF79-5CCE06C8CE68}" srcOrd="1" destOrd="0" parTransId="{42691C32-7E86-46DC-B05B-04F61E6FA916}" sibTransId="{051801A9-E791-48B9-81FE-9B95E5725A81}"/>
    <dgm:cxn modelId="{7E3EF5B5-5FA4-49EE-9A00-BBC36FD3CDCE}" type="presOf" srcId="{AAC34809-19F4-453D-97DD-13B72509574C}" destId="{73B3C70B-0617-4F52-82EA-5EDEBBA64F38}" srcOrd="0" destOrd="0" presId="urn:microsoft.com/office/officeart/2005/8/layout/cycle3"/>
    <dgm:cxn modelId="{201D15C4-2D6D-482F-9F48-359014606D06}" srcId="{06AB6FBB-BB30-4EAC-A804-37BCB76D6CD4}" destId="{E003B25B-9643-4889-9820-0BEDF49AEA09}" srcOrd="3" destOrd="0" parTransId="{8AA2428B-A16C-4E7D-97EC-4913B9FFA88A}" sibTransId="{D60D7DF7-260F-491D-BB11-387003FEEC4D}"/>
    <dgm:cxn modelId="{942BB0FB-C9E4-4C3F-B5A6-D315A5CFEAC3}" type="presOf" srcId="{06AB6FBB-BB30-4EAC-A804-37BCB76D6CD4}" destId="{546DB674-28A3-4910-A9BF-8B9EDA7F353E}" srcOrd="0" destOrd="0" presId="urn:microsoft.com/office/officeart/2005/8/layout/cycle3"/>
    <dgm:cxn modelId="{4C7E0656-D8E6-4434-9182-3F46EFFB8412}" type="presParOf" srcId="{546DB674-28A3-4910-A9BF-8B9EDA7F353E}" destId="{1846B13C-05A4-4E73-8152-EBEBC84569E4}" srcOrd="0" destOrd="0" presId="urn:microsoft.com/office/officeart/2005/8/layout/cycle3"/>
    <dgm:cxn modelId="{A78DE70B-3525-4C21-A922-47920BC7942F}" type="presParOf" srcId="{1846B13C-05A4-4E73-8152-EBEBC84569E4}" destId="{297D4673-F153-48F1-81BA-9C6DF90329BC}" srcOrd="0" destOrd="0" presId="urn:microsoft.com/office/officeart/2005/8/layout/cycle3"/>
    <dgm:cxn modelId="{D94AD7D5-F578-4838-BF4A-A1BB79DC4523}" type="presParOf" srcId="{1846B13C-05A4-4E73-8152-EBEBC84569E4}" destId="{73B3C70B-0617-4F52-82EA-5EDEBBA64F38}" srcOrd="1" destOrd="0" presId="urn:microsoft.com/office/officeart/2005/8/layout/cycle3"/>
    <dgm:cxn modelId="{8DC5BD38-BC81-4253-8147-3ECECA29596B}" type="presParOf" srcId="{1846B13C-05A4-4E73-8152-EBEBC84569E4}" destId="{BE7CE3F1-05B5-4BC6-AE43-9B1D41104992}" srcOrd="2" destOrd="0" presId="urn:microsoft.com/office/officeart/2005/8/layout/cycle3"/>
    <dgm:cxn modelId="{BF3AAAE8-0567-4613-B386-7AD094B42A21}" type="presParOf" srcId="{1846B13C-05A4-4E73-8152-EBEBC84569E4}" destId="{FE02DED6-B9CF-4DA0-92BE-F48CBDE3B3B2}" srcOrd="3" destOrd="0" presId="urn:microsoft.com/office/officeart/2005/8/layout/cycle3"/>
    <dgm:cxn modelId="{13BD786D-F904-48B5-8284-832B7B54928B}" type="presParOf" srcId="{1846B13C-05A4-4E73-8152-EBEBC84569E4}" destId="{2867155C-2404-42C6-AC3F-CCFA28F96CD2}" srcOrd="4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4923FB2-0036-4D0F-A380-4BEEC8472E30}" type="doc">
      <dgm:prSet loTypeId="urn:microsoft.com/office/officeart/2005/8/layout/cycle3" loCatId="cycle" qsTypeId="urn:microsoft.com/office/officeart/2005/8/quickstyle/simple1" qsCatId="simple" csTypeId="urn:microsoft.com/office/officeart/2005/8/colors/accent6_4" csCatId="accent6" phldr="1"/>
      <dgm:spPr/>
      <dgm:t>
        <a:bodyPr/>
        <a:lstStyle/>
        <a:p>
          <a:endParaRPr lang="en-US"/>
        </a:p>
      </dgm:t>
    </dgm:pt>
    <dgm:pt modelId="{79E56F1D-B6C9-49AA-89A8-59AD51868DAA}">
      <dgm:prSet phldrT="[Text]"/>
      <dgm:spPr/>
      <dgm:t>
        <a:bodyPr/>
        <a:lstStyle/>
        <a:p>
          <a:r>
            <a:rPr lang="en-US" dirty="0" err="1"/>
            <a:t>Giáo</a:t>
          </a:r>
          <a:r>
            <a:rPr lang="en-US" dirty="0"/>
            <a:t> </a:t>
          </a:r>
          <a:r>
            <a:rPr lang="en-US" dirty="0" err="1"/>
            <a:t>viên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3E9CDBE1-ABB9-489F-991F-83A3DF172CBA}" type="parTrans" cxnId="{5BE365CB-C65A-4FDE-8A72-958E603E3AC7}">
      <dgm:prSet/>
      <dgm:spPr/>
      <dgm:t>
        <a:bodyPr/>
        <a:lstStyle/>
        <a:p>
          <a:endParaRPr lang="en-US"/>
        </a:p>
      </dgm:t>
    </dgm:pt>
    <dgm:pt modelId="{9251F884-0FD3-4560-9274-882E27CF3758}" type="sibTrans" cxnId="{5BE365CB-C65A-4FDE-8A72-958E603E3AC7}">
      <dgm:prSet/>
      <dgm:spPr/>
      <dgm:t>
        <a:bodyPr/>
        <a:lstStyle/>
        <a:p>
          <a:endParaRPr lang="en-US"/>
        </a:p>
      </dgm:t>
    </dgm:pt>
    <dgm:pt modelId="{BFD61AC9-C7DC-4DBB-B7D0-30926FFBD3C4}">
      <dgm:prSet phldrT="[Text]"/>
      <dgm:spPr/>
      <dgm:t>
        <a:bodyPr/>
        <a:lstStyle/>
        <a:p>
          <a:r>
            <a:rPr lang="en-US" dirty="0" err="1">
              <a:latin typeface="Times New Roman" pitchFamily="18" charset="0"/>
              <a:cs typeface="Times New Roman" pitchFamily="18" charset="0"/>
            </a:rPr>
            <a:t>Cán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bộ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hành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chính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E84D9277-A24D-4FFB-9269-FDCAB316A3FE}" type="parTrans" cxnId="{B05A792B-E61F-4CDE-8565-D8B3ABBE9948}">
      <dgm:prSet/>
      <dgm:spPr/>
      <dgm:t>
        <a:bodyPr/>
        <a:lstStyle/>
        <a:p>
          <a:endParaRPr lang="en-US"/>
        </a:p>
      </dgm:t>
    </dgm:pt>
    <dgm:pt modelId="{A9BED2AC-749A-4FA7-9B90-1147B3D05B85}" type="sibTrans" cxnId="{B05A792B-E61F-4CDE-8565-D8B3ABBE9948}">
      <dgm:prSet/>
      <dgm:spPr/>
      <dgm:t>
        <a:bodyPr/>
        <a:lstStyle/>
        <a:p>
          <a:endParaRPr lang="en-US"/>
        </a:p>
      </dgm:t>
    </dgm:pt>
    <dgm:pt modelId="{B90C9960-F1EF-4811-9DC3-161B6A2066BB}">
      <dgm:prSet phldrT="[Text]"/>
      <dgm:spPr/>
      <dgm:t>
        <a:bodyPr/>
        <a:lstStyle/>
        <a:p>
          <a:r>
            <a:rPr lang="en-US" dirty="0" err="1">
              <a:latin typeface="Times New Roman" pitchFamily="18" charset="0"/>
              <a:cs typeface="Times New Roman" pitchFamily="18" charset="0"/>
            </a:rPr>
            <a:t>Cán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bộ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y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tế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FB6A0295-AF82-4487-B462-32FB129E8772}" type="parTrans" cxnId="{D19F0ED0-4B94-4784-80CF-A03A9A518016}">
      <dgm:prSet/>
      <dgm:spPr/>
      <dgm:t>
        <a:bodyPr/>
        <a:lstStyle/>
        <a:p>
          <a:endParaRPr lang="en-US"/>
        </a:p>
      </dgm:t>
    </dgm:pt>
    <dgm:pt modelId="{18B03205-123E-4670-A88A-856B6C4A4434}" type="sibTrans" cxnId="{D19F0ED0-4B94-4784-80CF-A03A9A518016}">
      <dgm:prSet/>
      <dgm:spPr/>
      <dgm:t>
        <a:bodyPr/>
        <a:lstStyle/>
        <a:p>
          <a:endParaRPr lang="en-US"/>
        </a:p>
      </dgm:t>
    </dgm:pt>
    <dgm:pt modelId="{381DC38D-8106-4ACF-A763-A2ACA0784D0E}">
      <dgm:prSet phldrT="[Text]"/>
      <dgm:spPr/>
      <dgm:t>
        <a:bodyPr/>
        <a:lstStyle/>
        <a:p>
          <a:r>
            <a:rPr lang="en-US" dirty="0" err="1">
              <a:latin typeface="Times New Roman" pitchFamily="18" charset="0"/>
              <a:cs typeface="Times New Roman" pitchFamily="18" charset="0"/>
            </a:rPr>
            <a:t>Bảo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vệ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136B8FBC-C84A-48D2-97AD-0A0FA90BC2F3}" type="parTrans" cxnId="{C9E842C4-FA57-4CFB-ACDF-93F817F6AE83}">
      <dgm:prSet/>
      <dgm:spPr/>
      <dgm:t>
        <a:bodyPr/>
        <a:lstStyle/>
        <a:p>
          <a:endParaRPr lang="en-US"/>
        </a:p>
      </dgm:t>
    </dgm:pt>
    <dgm:pt modelId="{1A99B1C1-F86F-4A06-81F8-EE4A3C5D1828}" type="sibTrans" cxnId="{C9E842C4-FA57-4CFB-ACDF-93F817F6AE83}">
      <dgm:prSet/>
      <dgm:spPr/>
      <dgm:t>
        <a:bodyPr/>
        <a:lstStyle/>
        <a:p>
          <a:endParaRPr lang="en-US"/>
        </a:p>
      </dgm:t>
    </dgm:pt>
    <dgm:pt modelId="{CE858136-FCED-43BA-B24B-3DA413021BE6}">
      <dgm:prSet phldrT="[Text]"/>
      <dgm:spPr/>
      <dgm:t>
        <a:bodyPr/>
        <a:lstStyle/>
        <a:p>
          <a:r>
            <a:rPr lang="en-US" dirty="0" err="1">
              <a:latin typeface="Times New Roman" pitchFamily="18" charset="0"/>
              <a:cs typeface="Times New Roman" pitchFamily="18" charset="0"/>
            </a:rPr>
            <a:t>Người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quét</a:t>
          </a:r>
          <a:r>
            <a:rPr lang="en-US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latin typeface="Times New Roman" pitchFamily="18" charset="0"/>
              <a:cs typeface="Times New Roman" pitchFamily="18" charset="0"/>
            </a:rPr>
            <a:t>dọn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AA1787AF-8192-4C70-A7DF-55B9C5EABEE6}" type="parTrans" cxnId="{67A492AD-2593-4159-A28B-2228D4219CAA}">
      <dgm:prSet/>
      <dgm:spPr/>
      <dgm:t>
        <a:bodyPr/>
        <a:lstStyle/>
        <a:p>
          <a:endParaRPr lang="en-US"/>
        </a:p>
      </dgm:t>
    </dgm:pt>
    <dgm:pt modelId="{6C679865-4214-4F74-8AF9-BA818E56F65F}" type="sibTrans" cxnId="{67A492AD-2593-4159-A28B-2228D4219CAA}">
      <dgm:prSet/>
      <dgm:spPr/>
      <dgm:t>
        <a:bodyPr/>
        <a:lstStyle/>
        <a:p>
          <a:endParaRPr lang="en-US"/>
        </a:p>
      </dgm:t>
    </dgm:pt>
    <dgm:pt modelId="{3F85AC66-14D9-4C36-85B6-69E87665F454}" type="pres">
      <dgm:prSet presAssocID="{74923FB2-0036-4D0F-A380-4BEEC8472E30}" presName="Name0" presStyleCnt="0">
        <dgm:presLayoutVars>
          <dgm:dir/>
          <dgm:resizeHandles val="exact"/>
        </dgm:presLayoutVars>
      </dgm:prSet>
      <dgm:spPr/>
    </dgm:pt>
    <dgm:pt modelId="{97A75D77-6B42-42E9-8EE3-8D64A49EB0B9}" type="pres">
      <dgm:prSet presAssocID="{74923FB2-0036-4D0F-A380-4BEEC8472E30}" presName="cycle" presStyleCnt="0"/>
      <dgm:spPr/>
    </dgm:pt>
    <dgm:pt modelId="{A89C6FEC-D41C-4391-BAA8-85E11AB68BEF}" type="pres">
      <dgm:prSet presAssocID="{79E56F1D-B6C9-49AA-89A8-59AD51868DAA}" presName="nodeFirstNode" presStyleLbl="node1" presStyleIdx="0" presStyleCnt="5">
        <dgm:presLayoutVars>
          <dgm:bulletEnabled val="1"/>
        </dgm:presLayoutVars>
      </dgm:prSet>
      <dgm:spPr/>
    </dgm:pt>
    <dgm:pt modelId="{D98C4EAA-DB0F-4056-BD97-CE57F439282D}" type="pres">
      <dgm:prSet presAssocID="{9251F884-0FD3-4560-9274-882E27CF3758}" presName="sibTransFirstNode" presStyleLbl="bgShp" presStyleIdx="0" presStyleCnt="1"/>
      <dgm:spPr/>
    </dgm:pt>
    <dgm:pt modelId="{46B81882-F036-46C6-96AC-1EF50D6AC191}" type="pres">
      <dgm:prSet presAssocID="{BFD61AC9-C7DC-4DBB-B7D0-30926FFBD3C4}" presName="nodeFollowingNodes" presStyleLbl="node1" presStyleIdx="1" presStyleCnt="5">
        <dgm:presLayoutVars>
          <dgm:bulletEnabled val="1"/>
        </dgm:presLayoutVars>
      </dgm:prSet>
      <dgm:spPr/>
    </dgm:pt>
    <dgm:pt modelId="{B8E48435-2079-40D8-8BE9-1868623281DC}" type="pres">
      <dgm:prSet presAssocID="{B90C9960-F1EF-4811-9DC3-161B6A2066BB}" presName="nodeFollowingNodes" presStyleLbl="node1" presStyleIdx="2" presStyleCnt="5">
        <dgm:presLayoutVars>
          <dgm:bulletEnabled val="1"/>
        </dgm:presLayoutVars>
      </dgm:prSet>
      <dgm:spPr/>
    </dgm:pt>
    <dgm:pt modelId="{7573156C-C5E9-4B7A-8F99-E464DBC1848D}" type="pres">
      <dgm:prSet presAssocID="{381DC38D-8106-4ACF-A763-A2ACA0784D0E}" presName="nodeFollowingNodes" presStyleLbl="node1" presStyleIdx="3" presStyleCnt="5">
        <dgm:presLayoutVars>
          <dgm:bulletEnabled val="1"/>
        </dgm:presLayoutVars>
      </dgm:prSet>
      <dgm:spPr/>
    </dgm:pt>
    <dgm:pt modelId="{F0717173-ECC9-4E38-B7ED-4BD98770DF51}" type="pres">
      <dgm:prSet presAssocID="{CE858136-FCED-43BA-B24B-3DA413021BE6}" presName="nodeFollowingNodes" presStyleLbl="node1" presStyleIdx="4" presStyleCnt="5">
        <dgm:presLayoutVars>
          <dgm:bulletEnabled val="1"/>
        </dgm:presLayoutVars>
      </dgm:prSet>
      <dgm:spPr/>
    </dgm:pt>
  </dgm:ptLst>
  <dgm:cxnLst>
    <dgm:cxn modelId="{2E1F9318-CC39-45C2-8875-C0128D741734}" type="presOf" srcId="{381DC38D-8106-4ACF-A763-A2ACA0784D0E}" destId="{7573156C-C5E9-4B7A-8F99-E464DBC1848D}" srcOrd="0" destOrd="0" presId="urn:microsoft.com/office/officeart/2005/8/layout/cycle3"/>
    <dgm:cxn modelId="{B05A792B-E61F-4CDE-8565-D8B3ABBE9948}" srcId="{74923FB2-0036-4D0F-A380-4BEEC8472E30}" destId="{BFD61AC9-C7DC-4DBB-B7D0-30926FFBD3C4}" srcOrd="1" destOrd="0" parTransId="{E84D9277-A24D-4FFB-9269-FDCAB316A3FE}" sibTransId="{A9BED2AC-749A-4FA7-9B90-1147B3D05B85}"/>
    <dgm:cxn modelId="{56A3C045-FE13-4088-A9EF-D11165979BD9}" type="presOf" srcId="{B90C9960-F1EF-4811-9DC3-161B6A2066BB}" destId="{B8E48435-2079-40D8-8BE9-1868623281DC}" srcOrd="0" destOrd="0" presId="urn:microsoft.com/office/officeart/2005/8/layout/cycle3"/>
    <dgm:cxn modelId="{858CD484-FE18-48F0-9F38-0AE93E455F6D}" type="presOf" srcId="{74923FB2-0036-4D0F-A380-4BEEC8472E30}" destId="{3F85AC66-14D9-4C36-85B6-69E87665F454}" srcOrd="0" destOrd="0" presId="urn:microsoft.com/office/officeart/2005/8/layout/cycle3"/>
    <dgm:cxn modelId="{67A492AD-2593-4159-A28B-2228D4219CAA}" srcId="{74923FB2-0036-4D0F-A380-4BEEC8472E30}" destId="{CE858136-FCED-43BA-B24B-3DA413021BE6}" srcOrd="4" destOrd="0" parTransId="{AA1787AF-8192-4C70-A7DF-55B9C5EABEE6}" sibTransId="{6C679865-4214-4F74-8AF9-BA818E56F65F}"/>
    <dgm:cxn modelId="{C9E842C4-FA57-4CFB-ACDF-93F817F6AE83}" srcId="{74923FB2-0036-4D0F-A380-4BEEC8472E30}" destId="{381DC38D-8106-4ACF-A763-A2ACA0784D0E}" srcOrd="3" destOrd="0" parTransId="{136B8FBC-C84A-48D2-97AD-0A0FA90BC2F3}" sibTransId="{1A99B1C1-F86F-4A06-81F8-EE4A3C5D1828}"/>
    <dgm:cxn modelId="{14355DC9-7EA9-4DF3-8965-8404FA65FC3F}" type="presOf" srcId="{CE858136-FCED-43BA-B24B-3DA413021BE6}" destId="{F0717173-ECC9-4E38-B7ED-4BD98770DF51}" srcOrd="0" destOrd="0" presId="urn:microsoft.com/office/officeart/2005/8/layout/cycle3"/>
    <dgm:cxn modelId="{5BE365CB-C65A-4FDE-8A72-958E603E3AC7}" srcId="{74923FB2-0036-4D0F-A380-4BEEC8472E30}" destId="{79E56F1D-B6C9-49AA-89A8-59AD51868DAA}" srcOrd="0" destOrd="0" parTransId="{3E9CDBE1-ABB9-489F-991F-83A3DF172CBA}" sibTransId="{9251F884-0FD3-4560-9274-882E27CF3758}"/>
    <dgm:cxn modelId="{D19F0ED0-4B94-4784-80CF-A03A9A518016}" srcId="{74923FB2-0036-4D0F-A380-4BEEC8472E30}" destId="{B90C9960-F1EF-4811-9DC3-161B6A2066BB}" srcOrd="2" destOrd="0" parTransId="{FB6A0295-AF82-4487-B462-32FB129E8772}" sibTransId="{18B03205-123E-4670-A88A-856B6C4A4434}"/>
    <dgm:cxn modelId="{4C06D0DB-3122-451D-B947-E0C87E2B0941}" type="presOf" srcId="{9251F884-0FD3-4560-9274-882E27CF3758}" destId="{D98C4EAA-DB0F-4056-BD97-CE57F439282D}" srcOrd="0" destOrd="0" presId="urn:microsoft.com/office/officeart/2005/8/layout/cycle3"/>
    <dgm:cxn modelId="{B4C412E4-EF7E-445A-8F8C-87A771A17072}" type="presOf" srcId="{79E56F1D-B6C9-49AA-89A8-59AD51868DAA}" destId="{A89C6FEC-D41C-4391-BAA8-85E11AB68BEF}" srcOrd="0" destOrd="0" presId="urn:microsoft.com/office/officeart/2005/8/layout/cycle3"/>
    <dgm:cxn modelId="{661D94E5-2E00-42CA-899C-577C1574ADD0}" type="presOf" srcId="{BFD61AC9-C7DC-4DBB-B7D0-30926FFBD3C4}" destId="{46B81882-F036-46C6-96AC-1EF50D6AC191}" srcOrd="0" destOrd="0" presId="urn:microsoft.com/office/officeart/2005/8/layout/cycle3"/>
    <dgm:cxn modelId="{773D8E15-859A-4DE7-A33D-7C7E0B668765}" type="presParOf" srcId="{3F85AC66-14D9-4C36-85B6-69E87665F454}" destId="{97A75D77-6B42-42E9-8EE3-8D64A49EB0B9}" srcOrd="0" destOrd="0" presId="urn:microsoft.com/office/officeart/2005/8/layout/cycle3"/>
    <dgm:cxn modelId="{5988AD02-75CB-49ED-B820-4AA3A448A338}" type="presParOf" srcId="{97A75D77-6B42-42E9-8EE3-8D64A49EB0B9}" destId="{A89C6FEC-D41C-4391-BAA8-85E11AB68BEF}" srcOrd="0" destOrd="0" presId="urn:microsoft.com/office/officeart/2005/8/layout/cycle3"/>
    <dgm:cxn modelId="{0576E6CA-A7E9-45B3-9EED-C01EDEFA46D2}" type="presParOf" srcId="{97A75D77-6B42-42E9-8EE3-8D64A49EB0B9}" destId="{D98C4EAA-DB0F-4056-BD97-CE57F439282D}" srcOrd="1" destOrd="0" presId="urn:microsoft.com/office/officeart/2005/8/layout/cycle3"/>
    <dgm:cxn modelId="{2A4968A9-7F96-4747-A836-5E42E92C33D7}" type="presParOf" srcId="{97A75D77-6B42-42E9-8EE3-8D64A49EB0B9}" destId="{46B81882-F036-46C6-96AC-1EF50D6AC191}" srcOrd="2" destOrd="0" presId="urn:microsoft.com/office/officeart/2005/8/layout/cycle3"/>
    <dgm:cxn modelId="{9953E2E2-F22F-406A-93C5-AD8E9A98C04B}" type="presParOf" srcId="{97A75D77-6B42-42E9-8EE3-8D64A49EB0B9}" destId="{B8E48435-2079-40D8-8BE9-1868623281DC}" srcOrd="3" destOrd="0" presId="urn:microsoft.com/office/officeart/2005/8/layout/cycle3"/>
    <dgm:cxn modelId="{CB8E91ED-4B4B-48A2-9C3A-C2B26950E145}" type="presParOf" srcId="{97A75D77-6B42-42E9-8EE3-8D64A49EB0B9}" destId="{7573156C-C5E9-4B7A-8F99-E464DBC1848D}" srcOrd="4" destOrd="0" presId="urn:microsoft.com/office/officeart/2005/8/layout/cycle3"/>
    <dgm:cxn modelId="{07BF8C4A-9E87-4E41-A562-7C35B739BDC5}" type="presParOf" srcId="{97A75D77-6B42-42E9-8EE3-8D64A49EB0B9}" destId="{F0717173-ECC9-4E38-B7ED-4BD98770DF51}" srcOrd="5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32FE59C3-7BA0-DC4F-969B-9BBDC9126775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F76768C-8930-DC4D-BDFD-3859CA8F3AEF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ên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ạnh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ình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ọc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[bao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ồm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ầm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non/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ẫu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o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]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ần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uất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úc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iều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ất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gm:t>
    </dgm:pt>
    <dgm:pt modelId="{B79C005B-0CC5-224F-B12F-76CBA8167ECA}" type="parTrans" cxnId="{CB639437-1EF1-0A47-ABFF-0D03E9BD284B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280A9DE8-A6A8-184E-8068-E5660A6E7ED3}" type="sibTrans" cxnId="{CB639437-1EF1-0A47-ABFF-0D03E9BD284B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75680FE9-A183-7F46-AE46-AAA45D926338}" type="asst">
      <dgm:prSet phldrT="[Text]" custT="1"/>
      <dgm:spPr>
        <a:solidFill>
          <a:srgbClr val="FFC000"/>
        </a:solidFill>
      </dgm:spPr>
      <dgm:t>
        <a:bodyPr/>
        <a:lstStyle/>
        <a:p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ọc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ôi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ắt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ôi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tai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u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ận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ại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o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uộc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ề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ao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ãng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 </a:t>
          </a:r>
        </a:p>
      </dgm:t>
    </dgm:pt>
    <dgm:pt modelId="{BE826F38-BE77-8748-9AA0-A34FA9BECDFC}" type="parTrans" cxnId="{AC26DF98-334B-8644-B50A-37477F17428F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89879A45-D75D-F847-82E0-B2BB80826E95}" type="sibTrans" cxnId="{AC26DF98-334B-8644-B50A-37477F17428F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FE2C4122-BA0F-2B4A-9208-ABF93137B530}">
      <dgm:prSet phldrT="[Text]" custT="1"/>
      <dgm:spPr>
        <a:solidFill>
          <a:schemeClr val="bg1"/>
        </a:solidFill>
      </dgm:spPr>
      <dgm:t>
        <a:bodyPr/>
        <a:lstStyle/>
        <a:p>
          <a:r>
            <a:rPr lang="en-US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1. </a:t>
          </a:r>
          <a:r>
            <a:rPr lang="vi-VN" sz="1800" b="1" kern="12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Cảnh giác </a:t>
          </a:r>
          <a:r>
            <a:rPr lang="vi-VN" sz="1800" b="0" kern="12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– chú</a:t>
          </a:r>
          <a:r>
            <a:rPr lang="en-US" sz="1800" b="0" kern="12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 </a:t>
          </a:r>
          <a:r>
            <a:rPr lang="vi-VN" sz="1800" b="0" kern="12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ý đến </a:t>
          </a:r>
          <a:r>
            <a:rPr lang="en-US" sz="1800" b="0" kern="1200" dirty="0" err="1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tình</a:t>
          </a:r>
          <a:r>
            <a:rPr lang="en-US" sz="1800" b="0" kern="12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 </a:t>
          </a:r>
          <a:r>
            <a:rPr lang="en-US" sz="1800" b="0" kern="1200" dirty="0" err="1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trạng</a:t>
          </a:r>
          <a:r>
            <a:rPr lang="vi-VN" sz="1800" b="0" kern="12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 của trẻ em – </a:t>
          </a:r>
          <a:r>
            <a:rPr lang="en-US" sz="1800" b="0" kern="1200" dirty="0" err="1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trẻ</a:t>
          </a:r>
          <a:r>
            <a:rPr lang="en-US" sz="1800" b="0" kern="12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 </a:t>
          </a:r>
          <a:r>
            <a:rPr lang="en-US" sz="1800" b="0" kern="1200" dirty="0" err="1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có</a:t>
          </a:r>
          <a:r>
            <a:rPr lang="en-US" sz="1800" b="0" kern="12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 </a:t>
          </a:r>
          <a:r>
            <a:rPr lang="en-US" sz="1800" b="0" kern="1200" dirty="0" err="1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đang</a:t>
          </a:r>
          <a:r>
            <a:rPr lang="en-US" sz="1800" b="0" kern="12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 </a:t>
          </a:r>
          <a:r>
            <a:rPr lang="vi-VN" sz="1800" b="0" kern="12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được chăm sóc, an toàn và được bảo vệ.</a:t>
          </a:r>
          <a:endParaRPr lang="en-GB" sz="1800" b="0" kern="1200" dirty="0">
            <a:solidFill>
              <a:prstClr val="black"/>
            </a:solidFill>
            <a:latin typeface="Times New Roman" pitchFamily="18" charset="0"/>
            <a:ea typeface="+mn-ea"/>
            <a:cs typeface="Times New Roman" pitchFamily="18" charset="0"/>
          </a:endParaRPr>
        </a:p>
      </dgm:t>
    </dgm:pt>
    <dgm:pt modelId="{4E20C78A-857D-B747-AF42-F074C7D6F170}" type="parTrans" cxnId="{AAC1749D-13C9-8747-B2A6-42C9226AD05C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AEC5A6B3-DFBF-6D47-820E-DDD42E6713F3}" type="sibTrans" cxnId="{AAC1749D-13C9-8747-B2A6-42C9226AD05C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BC3C7C48-9DB8-434A-89B2-E2F95B4BEBF0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2. </a:t>
          </a:r>
          <a:r>
            <a:rPr lang="en-GB" sz="1800" b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ân</a:t>
          </a:r>
          <a:r>
            <a:rPr lang="en-GB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b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ắc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u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ập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ông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tin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h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uyên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hiệp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ù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ánh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ông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tin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ể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yết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ịnh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em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ại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ào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ề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gm:t>
    </dgm:pt>
    <dgm:pt modelId="{600982FA-3670-6043-9DB4-D05D3DB4D311}" type="parTrans" cxnId="{F985AC77-2910-4D4B-A283-9D08DB7CB376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3668DD38-996A-C641-A6A7-41F8F7BF8A5B}" type="sibTrans" cxnId="{F985AC77-2910-4D4B-A283-9D08DB7CB376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8310B8EA-2D95-7C49-93D5-DD25014E1009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3. </a:t>
          </a:r>
          <a:r>
            <a:rPr lang="en-GB" sz="1800" b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ản</a:t>
          </a:r>
          <a:r>
            <a:rPr lang="en-GB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b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ồi</a:t>
          </a:r>
          <a:r>
            <a:rPr lang="en-GB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–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ếu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ại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ản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ồi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ông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qua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ối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n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ộ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uyên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ách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Ủy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Ban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ân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ân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gm:t>
    </dgm:pt>
    <dgm:pt modelId="{511C9495-0383-714F-92E0-82EFC992220A}" type="parTrans" cxnId="{388DB4AC-A9C5-3C44-AE90-B4279ABF1F93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5BC01EE7-01A8-3E40-A1BF-5E211E9B63A1}" type="sibTrans" cxnId="{388DB4AC-A9C5-3C44-AE90-B4279ABF1F93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FFC334B8-021A-674A-A71C-5ED46635D075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4. </a:t>
          </a:r>
          <a:r>
            <a:rPr lang="en-GB" sz="1800" b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GB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b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ác</a:t>
          </a:r>
          <a:r>
            <a:rPr lang="en-GB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–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n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ộ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ệ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UBND,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m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ốc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ca,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ành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LĐTBXH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uyên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ôn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ác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ản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ý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ca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i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n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iết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.</a:t>
          </a:r>
        </a:p>
      </dgm:t>
    </dgm:pt>
    <dgm:pt modelId="{EFE69F94-A88D-4C4F-A935-03B71807949E}" type="parTrans" cxnId="{D08B5F4F-6599-1E4B-BDF4-DF758706806B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387182BF-38B2-AD48-AE86-64FBF69ED0AA}" type="sibTrans" cxnId="{D08B5F4F-6599-1E4B-BDF4-DF758706806B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63448D02-EA37-9044-9349-013F385E44AE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5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 </a:t>
          </a:r>
          <a:r>
            <a:rPr lang="en-GB" sz="1800" b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ỗ</a:t>
          </a:r>
          <a:r>
            <a:rPr lang="en-GB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b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ợ</a:t>
          </a:r>
          <a:r>
            <a:rPr lang="en-GB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b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ề</a:t>
          </a:r>
          <a:r>
            <a:rPr lang="en-GB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b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o</a:t>
          </a:r>
          <a:r>
            <a:rPr lang="en-GB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b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c</a:t>
          </a:r>
          <a:r>
            <a:rPr lang="en-GB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–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ỗ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ợ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ảm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ận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o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c</a:t>
          </a:r>
          <a:r>
            <a:rPr lang="en-GB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 </a:t>
          </a:r>
        </a:p>
      </dgm:t>
    </dgm:pt>
    <dgm:pt modelId="{52D34136-1297-AF43-AAFD-5CE275CEB496}" type="parTrans" cxnId="{95A640BC-46B3-304F-9705-A86DF1AE2AD5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C2260482-15DA-6543-BD04-4558C69141E3}" type="sibTrans" cxnId="{95A640BC-46B3-304F-9705-A86DF1AE2AD5}">
      <dgm:prSet/>
      <dgm:spPr/>
      <dgm:t>
        <a:bodyPr/>
        <a:lstStyle/>
        <a:p>
          <a:endParaRPr lang="en-GB" sz="1800">
            <a:solidFill>
              <a:schemeClr val="tx1"/>
            </a:solidFill>
          </a:endParaRPr>
        </a:p>
      </dgm:t>
    </dgm:pt>
    <dgm:pt modelId="{AD53DA97-CD21-2F41-9427-1B8DE9D8E5C4}">
      <dgm:prSet custT="1"/>
      <dgm:spPr>
        <a:solidFill>
          <a:schemeClr val="bg1"/>
        </a:solidFill>
      </dgm:spPr>
      <dgm:t>
        <a:bodyPr/>
        <a:lstStyle/>
        <a:p>
          <a:r>
            <a:rPr lang="en-AU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6. </a:t>
          </a:r>
          <a:r>
            <a:rPr lang="en-AU" sz="1800" b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m</a:t>
          </a:r>
          <a:r>
            <a:rPr lang="en-AU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b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át</a:t>
          </a:r>
          <a:r>
            <a:rPr lang="en-AU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AU" sz="1800" b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ỗ</a:t>
          </a:r>
          <a:r>
            <a:rPr lang="en-AU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b="1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ợ</a:t>
          </a:r>
          <a:r>
            <a:rPr lang="en-AU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– can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iệp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ậu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ịch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ụ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ể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ảm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uy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ì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ến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ục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ác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ịnh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uy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ơ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ẩn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A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 </a:t>
          </a:r>
        </a:p>
      </dgm:t>
    </dgm:pt>
    <dgm:pt modelId="{28FDCF40-ADBA-3B40-8BE1-272C8BB41105}" type="parTrans" cxnId="{F3BADD61-5A73-E949-A654-8C926D1BB824}">
      <dgm:prSet/>
      <dgm:spPr/>
      <dgm:t>
        <a:bodyPr/>
        <a:lstStyle/>
        <a:p>
          <a:endParaRPr lang="en-GB"/>
        </a:p>
      </dgm:t>
    </dgm:pt>
    <dgm:pt modelId="{D355E820-84BB-0149-A143-5D5CFE2C4C00}" type="sibTrans" cxnId="{F3BADD61-5A73-E949-A654-8C926D1BB824}">
      <dgm:prSet/>
      <dgm:spPr/>
      <dgm:t>
        <a:bodyPr/>
        <a:lstStyle/>
        <a:p>
          <a:endParaRPr lang="en-GB"/>
        </a:p>
      </dgm:t>
    </dgm:pt>
    <dgm:pt modelId="{C0A07237-CDB6-7746-A0DE-B59AB155771C}" type="pres">
      <dgm:prSet presAssocID="{32FE59C3-7BA0-DC4F-969B-9BBDC9126775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109A0926-3316-5B48-B007-FED442DA328F}" type="pres">
      <dgm:prSet presAssocID="{6F76768C-8930-DC4D-BDFD-3859CA8F3AEF}" presName="hierRoot1" presStyleCnt="0">
        <dgm:presLayoutVars>
          <dgm:hierBranch val="init"/>
        </dgm:presLayoutVars>
      </dgm:prSet>
      <dgm:spPr/>
    </dgm:pt>
    <dgm:pt modelId="{CDCC3EA8-A49A-B846-BCE9-0C9DA44D27D1}" type="pres">
      <dgm:prSet presAssocID="{6F76768C-8930-DC4D-BDFD-3859CA8F3AEF}" presName="rootComposite1" presStyleCnt="0"/>
      <dgm:spPr/>
    </dgm:pt>
    <dgm:pt modelId="{4DED179F-B4A8-A142-A0AA-5D6A6639685F}" type="pres">
      <dgm:prSet presAssocID="{6F76768C-8930-DC4D-BDFD-3859CA8F3AEF}" presName="rootText1" presStyleLbl="node0" presStyleIdx="0" presStyleCnt="1" custScaleX="587716" custLinFactX="36791" custLinFactNeighborX="100000" custLinFactNeighborY="-55">
        <dgm:presLayoutVars>
          <dgm:chPref val="3"/>
        </dgm:presLayoutVars>
      </dgm:prSet>
      <dgm:spPr/>
    </dgm:pt>
    <dgm:pt modelId="{288CCEEA-DED1-2F49-98ED-6A05822E5D8C}" type="pres">
      <dgm:prSet presAssocID="{6F76768C-8930-DC4D-BDFD-3859CA8F3AEF}" presName="rootConnector1" presStyleLbl="node1" presStyleIdx="0" presStyleCnt="0"/>
      <dgm:spPr/>
    </dgm:pt>
    <dgm:pt modelId="{3E9041D3-C58E-7644-A7EE-A18C96DC3985}" type="pres">
      <dgm:prSet presAssocID="{6F76768C-8930-DC4D-BDFD-3859CA8F3AEF}" presName="hierChild2" presStyleCnt="0"/>
      <dgm:spPr/>
    </dgm:pt>
    <dgm:pt modelId="{AAEF8BE6-33BF-F54A-A434-D7DE5BEE2079}" type="pres">
      <dgm:prSet presAssocID="{4E20C78A-857D-B747-AF42-F074C7D6F170}" presName="Name37" presStyleLbl="parChTrans1D2" presStyleIdx="0" presStyleCnt="2"/>
      <dgm:spPr/>
    </dgm:pt>
    <dgm:pt modelId="{3BC3F308-1B41-9449-A047-F5D038C18DE8}" type="pres">
      <dgm:prSet presAssocID="{FE2C4122-BA0F-2B4A-9208-ABF93137B530}" presName="hierRoot2" presStyleCnt="0">
        <dgm:presLayoutVars>
          <dgm:hierBranch val="init"/>
        </dgm:presLayoutVars>
      </dgm:prSet>
      <dgm:spPr/>
    </dgm:pt>
    <dgm:pt modelId="{4EB1DC6A-582D-3D42-AA96-0FE5D3001DCE}" type="pres">
      <dgm:prSet presAssocID="{FE2C4122-BA0F-2B4A-9208-ABF93137B530}" presName="rootComposite" presStyleCnt="0"/>
      <dgm:spPr/>
    </dgm:pt>
    <dgm:pt modelId="{BA43B357-CCB4-AA4D-9811-90BC7D600313}" type="pres">
      <dgm:prSet presAssocID="{FE2C4122-BA0F-2B4A-9208-ABF93137B530}" presName="rootText" presStyleLbl="node2" presStyleIdx="0" presStyleCnt="1" custScaleX="677510" custLinFactNeighborX="25309" custLinFactNeighborY="-40696">
        <dgm:presLayoutVars>
          <dgm:chPref val="3"/>
        </dgm:presLayoutVars>
      </dgm:prSet>
      <dgm:spPr/>
    </dgm:pt>
    <dgm:pt modelId="{A5302C30-FBA2-1946-9773-531D14778259}" type="pres">
      <dgm:prSet presAssocID="{FE2C4122-BA0F-2B4A-9208-ABF93137B530}" presName="rootConnector" presStyleLbl="node2" presStyleIdx="0" presStyleCnt="1"/>
      <dgm:spPr/>
    </dgm:pt>
    <dgm:pt modelId="{41C58CEE-7F34-1045-9424-2185B002AFD2}" type="pres">
      <dgm:prSet presAssocID="{FE2C4122-BA0F-2B4A-9208-ABF93137B530}" presName="hierChild4" presStyleCnt="0"/>
      <dgm:spPr/>
    </dgm:pt>
    <dgm:pt modelId="{F6EFADD8-4C13-8F4B-BFF4-6A569BA1A014}" type="pres">
      <dgm:prSet presAssocID="{600982FA-3670-6043-9DB4-D05D3DB4D311}" presName="Name37" presStyleLbl="parChTrans1D3" presStyleIdx="0" presStyleCnt="5"/>
      <dgm:spPr/>
    </dgm:pt>
    <dgm:pt modelId="{A3CA0B41-A19C-AB40-9759-85036E20C6D8}" type="pres">
      <dgm:prSet presAssocID="{BC3C7C48-9DB8-434A-89B2-E2F95B4BEBF0}" presName="hierRoot2" presStyleCnt="0">
        <dgm:presLayoutVars>
          <dgm:hierBranch val="init"/>
        </dgm:presLayoutVars>
      </dgm:prSet>
      <dgm:spPr/>
    </dgm:pt>
    <dgm:pt modelId="{351CC966-BF62-744A-9E28-0CD53F8D8881}" type="pres">
      <dgm:prSet presAssocID="{BC3C7C48-9DB8-434A-89B2-E2F95B4BEBF0}" presName="rootComposite" presStyleCnt="0"/>
      <dgm:spPr/>
    </dgm:pt>
    <dgm:pt modelId="{AA9CB024-A06E-414E-9E2D-2F27C43A349A}" type="pres">
      <dgm:prSet presAssocID="{BC3C7C48-9DB8-434A-89B2-E2F95B4BEBF0}" presName="rootText" presStyleLbl="node3" presStyleIdx="0" presStyleCnt="5" custScaleX="685017" custLinFactNeighborX="2867" custLinFactNeighborY="-29086">
        <dgm:presLayoutVars>
          <dgm:chPref val="3"/>
        </dgm:presLayoutVars>
      </dgm:prSet>
      <dgm:spPr/>
    </dgm:pt>
    <dgm:pt modelId="{433194D3-E270-CA41-9556-9202738ED375}" type="pres">
      <dgm:prSet presAssocID="{BC3C7C48-9DB8-434A-89B2-E2F95B4BEBF0}" presName="rootConnector" presStyleLbl="node3" presStyleIdx="0" presStyleCnt="5"/>
      <dgm:spPr/>
    </dgm:pt>
    <dgm:pt modelId="{E7D3480E-70D6-C34A-A7EC-271499681A03}" type="pres">
      <dgm:prSet presAssocID="{BC3C7C48-9DB8-434A-89B2-E2F95B4BEBF0}" presName="hierChild4" presStyleCnt="0"/>
      <dgm:spPr/>
    </dgm:pt>
    <dgm:pt modelId="{117476F9-A0D2-4149-971D-BE1D247ECF01}" type="pres">
      <dgm:prSet presAssocID="{BC3C7C48-9DB8-434A-89B2-E2F95B4BEBF0}" presName="hierChild5" presStyleCnt="0"/>
      <dgm:spPr/>
    </dgm:pt>
    <dgm:pt modelId="{0F835542-BBA0-7C4F-9CF2-074B68206E17}" type="pres">
      <dgm:prSet presAssocID="{511C9495-0383-714F-92E0-82EFC992220A}" presName="Name37" presStyleLbl="parChTrans1D3" presStyleIdx="1" presStyleCnt="5"/>
      <dgm:spPr/>
    </dgm:pt>
    <dgm:pt modelId="{A222AC0D-2217-014B-BCEC-8443E25677F5}" type="pres">
      <dgm:prSet presAssocID="{8310B8EA-2D95-7C49-93D5-DD25014E1009}" presName="hierRoot2" presStyleCnt="0">
        <dgm:presLayoutVars>
          <dgm:hierBranch val="init"/>
        </dgm:presLayoutVars>
      </dgm:prSet>
      <dgm:spPr/>
    </dgm:pt>
    <dgm:pt modelId="{C049F4A5-C867-D54E-B94E-9942EACEC369}" type="pres">
      <dgm:prSet presAssocID="{8310B8EA-2D95-7C49-93D5-DD25014E1009}" presName="rootComposite" presStyleCnt="0"/>
      <dgm:spPr/>
    </dgm:pt>
    <dgm:pt modelId="{1DFD96A8-D936-154A-BBFB-5CC20F5E9969}" type="pres">
      <dgm:prSet presAssocID="{8310B8EA-2D95-7C49-93D5-DD25014E1009}" presName="rootText" presStyleLbl="node3" presStyleIdx="1" presStyleCnt="5" custScaleX="611770" custLinFactNeighborX="317" custLinFactNeighborY="-26668">
        <dgm:presLayoutVars>
          <dgm:chPref val="3"/>
        </dgm:presLayoutVars>
      </dgm:prSet>
      <dgm:spPr/>
    </dgm:pt>
    <dgm:pt modelId="{55397FDA-2E56-DF4A-83E0-63E7FD7CD64D}" type="pres">
      <dgm:prSet presAssocID="{8310B8EA-2D95-7C49-93D5-DD25014E1009}" presName="rootConnector" presStyleLbl="node3" presStyleIdx="1" presStyleCnt="5"/>
      <dgm:spPr/>
    </dgm:pt>
    <dgm:pt modelId="{D1B2ED89-6979-B348-9D61-8E5EC56AC771}" type="pres">
      <dgm:prSet presAssocID="{8310B8EA-2D95-7C49-93D5-DD25014E1009}" presName="hierChild4" presStyleCnt="0"/>
      <dgm:spPr/>
    </dgm:pt>
    <dgm:pt modelId="{9903F71F-64A2-AA40-BCE6-BF4AA408365F}" type="pres">
      <dgm:prSet presAssocID="{8310B8EA-2D95-7C49-93D5-DD25014E1009}" presName="hierChild5" presStyleCnt="0"/>
      <dgm:spPr/>
    </dgm:pt>
    <dgm:pt modelId="{CBC809B0-656C-3D4B-936E-CB9B66D008BA}" type="pres">
      <dgm:prSet presAssocID="{EFE69F94-A88D-4C4F-A935-03B71807949E}" presName="Name37" presStyleLbl="parChTrans1D3" presStyleIdx="2" presStyleCnt="5"/>
      <dgm:spPr/>
    </dgm:pt>
    <dgm:pt modelId="{10D53730-7FAD-334E-815E-BA95ADC89D9C}" type="pres">
      <dgm:prSet presAssocID="{FFC334B8-021A-674A-A71C-5ED46635D075}" presName="hierRoot2" presStyleCnt="0">
        <dgm:presLayoutVars>
          <dgm:hierBranch val="init"/>
        </dgm:presLayoutVars>
      </dgm:prSet>
      <dgm:spPr/>
    </dgm:pt>
    <dgm:pt modelId="{9DEF9190-666E-024D-A929-8D5FCE293E04}" type="pres">
      <dgm:prSet presAssocID="{FFC334B8-021A-674A-A71C-5ED46635D075}" presName="rootComposite" presStyleCnt="0"/>
      <dgm:spPr/>
    </dgm:pt>
    <dgm:pt modelId="{98E39E23-BB3A-434E-AF35-540047101BD2}" type="pres">
      <dgm:prSet presAssocID="{FFC334B8-021A-674A-A71C-5ED46635D075}" presName="rootText" presStyleLbl="node3" presStyleIdx="2" presStyleCnt="5" custScaleX="649683" custScaleY="156476" custLinFactNeighborX="-10918" custLinFactNeighborY="-30181">
        <dgm:presLayoutVars>
          <dgm:chPref val="3"/>
        </dgm:presLayoutVars>
      </dgm:prSet>
      <dgm:spPr/>
    </dgm:pt>
    <dgm:pt modelId="{4E4769AE-0627-8E48-A84D-36B9979D5262}" type="pres">
      <dgm:prSet presAssocID="{FFC334B8-021A-674A-A71C-5ED46635D075}" presName="rootConnector" presStyleLbl="node3" presStyleIdx="2" presStyleCnt="5"/>
      <dgm:spPr/>
    </dgm:pt>
    <dgm:pt modelId="{EA5D6C9A-556B-D14B-84FB-BA812874D15D}" type="pres">
      <dgm:prSet presAssocID="{FFC334B8-021A-674A-A71C-5ED46635D075}" presName="hierChild4" presStyleCnt="0"/>
      <dgm:spPr/>
    </dgm:pt>
    <dgm:pt modelId="{B04AB1D9-60A1-B944-B2CA-60B94A3C71F8}" type="pres">
      <dgm:prSet presAssocID="{FFC334B8-021A-674A-A71C-5ED46635D075}" presName="hierChild5" presStyleCnt="0"/>
      <dgm:spPr/>
    </dgm:pt>
    <dgm:pt modelId="{F9F18EB7-CBAD-BC4A-A984-4B8D78B8DC0B}" type="pres">
      <dgm:prSet presAssocID="{52D34136-1297-AF43-AAFD-5CE275CEB496}" presName="Name37" presStyleLbl="parChTrans1D3" presStyleIdx="3" presStyleCnt="5"/>
      <dgm:spPr/>
    </dgm:pt>
    <dgm:pt modelId="{1BF8405A-413A-B64A-BE36-6793F4981FD9}" type="pres">
      <dgm:prSet presAssocID="{63448D02-EA37-9044-9349-013F385E44AE}" presName="hierRoot2" presStyleCnt="0">
        <dgm:presLayoutVars>
          <dgm:hierBranch val="init"/>
        </dgm:presLayoutVars>
      </dgm:prSet>
      <dgm:spPr/>
    </dgm:pt>
    <dgm:pt modelId="{26493613-7DC0-A94B-AAE9-3990DD3259C3}" type="pres">
      <dgm:prSet presAssocID="{63448D02-EA37-9044-9349-013F385E44AE}" presName="rootComposite" presStyleCnt="0"/>
      <dgm:spPr/>
    </dgm:pt>
    <dgm:pt modelId="{B7C8D921-A658-1F42-A3C5-F0232C787520}" type="pres">
      <dgm:prSet presAssocID="{63448D02-EA37-9044-9349-013F385E44AE}" presName="rootText" presStyleLbl="node3" presStyleIdx="3" presStyleCnt="5" custScaleX="507900" custLinFactNeighborX="5991" custLinFactNeighborY="-26369">
        <dgm:presLayoutVars>
          <dgm:chPref val="3"/>
        </dgm:presLayoutVars>
      </dgm:prSet>
      <dgm:spPr/>
    </dgm:pt>
    <dgm:pt modelId="{AAF9FCC8-2D7E-D14F-9F87-73118CA71ED4}" type="pres">
      <dgm:prSet presAssocID="{63448D02-EA37-9044-9349-013F385E44AE}" presName="rootConnector" presStyleLbl="node3" presStyleIdx="3" presStyleCnt="5"/>
      <dgm:spPr/>
    </dgm:pt>
    <dgm:pt modelId="{FCEBEE4F-4F43-0947-90B1-EF08385F28B8}" type="pres">
      <dgm:prSet presAssocID="{63448D02-EA37-9044-9349-013F385E44AE}" presName="hierChild4" presStyleCnt="0"/>
      <dgm:spPr/>
    </dgm:pt>
    <dgm:pt modelId="{A4F56B5A-7542-3245-98F3-0F73909B31A8}" type="pres">
      <dgm:prSet presAssocID="{63448D02-EA37-9044-9349-013F385E44AE}" presName="hierChild5" presStyleCnt="0"/>
      <dgm:spPr/>
    </dgm:pt>
    <dgm:pt modelId="{DB5EBAB8-9D8A-6F4B-939B-94467887D1FF}" type="pres">
      <dgm:prSet presAssocID="{28FDCF40-ADBA-3B40-8BE1-272C8BB41105}" presName="Name37" presStyleLbl="parChTrans1D3" presStyleIdx="4" presStyleCnt="5"/>
      <dgm:spPr/>
    </dgm:pt>
    <dgm:pt modelId="{01B91550-3C22-E64D-8BA3-DC5E545FAEA1}" type="pres">
      <dgm:prSet presAssocID="{AD53DA97-CD21-2F41-9427-1B8DE9D8E5C4}" presName="hierRoot2" presStyleCnt="0">
        <dgm:presLayoutVars>
          <dgm:hierBranch val="init"/>
        </dgm:presLayoutVars>
      </dgm:prSet>
      <dgm:spPr/>
    </dgm:pt>
    <dgm:pt modelId="{A6A901A1-395F-6A40-9FE6-19DC93649664}" type="pres">
      <dgm:prSet presAssocID="{AD53DA97-CD21-2F41-9427-1B8DE9D8E5C4}" presName="rootComposite" presStyleCnt="0"/>
      <dgm:spPr/>
    </dgm:pt>
    <dgm:pt modelId="{D7710399-F45C-EC44-9C23-59F7D67E3F6A}" type="pres">
      <dgm:prSet presAssocID="{AD53DA97-CD21-2F41-9427-1B8DE9D8E5C4}" presName="rootText" presStyleLbl="node3" presStyleIdx="4" presStyleCnt="5" custScaleX="584258" custLinFactNeighborX="9714" custLinFactNeighborY="-40760">
        <dgm:presLayoutVars>
          <dgm:chPref val="3"/>
        </dgm:presLayoutVars>
      </dgm:prSet>
      <dgm:spPr/>
    </dgm:pt>
    <dgm:pt modelId="{8E7B7DEF-FA80-584F-8165-E0E89A71D382}" type="pres">
      <dgm:prSet presAssocID="{AD53DA97-CD21-2F41-9427-1B8DE9D8E5C4}" presName="rootConnector" presStyleLbl="node3" presStyleIdx="4" presStyleCnt="5"/>
      <dgm:spPr/>
    </dgm:pt>
    <dgm:pt modelId="{738F7E61-0CC6-A14C-A1A3-6B1500536351}" type="pres">
      <dgm:prSet presAssocID="{AD53DA97-CD21-2F41-9427-1B8DE9D8E5C4}" presName="hierChild4" presStyleCnt="0"/>
      <dgm:spPr/>
    </dgm:pt>
    <dgm:pt modelId="{B283AF94-6D68-1449-B3CC-1CE14EA5B930}" type="pres">
      <dgm:prSet presAssocID="{AD53DA97-CD21-2F41-9427-1B8DE9D8E5C4}" presName="hierChild5" presStyleCnt="0"/>
      <dgm:spPr/>
    </dgm:pt>
    <dgm:pt modelId="{6074D3F3-C839-7E48-B24C-B59F1EC83D12}" type="pres">
      <dgm:prSet presAssocID="{FE2C4122-BA0F-2B4A-9208-ABF93137B530}" presName="hierChild5" presStyleCnt="0"/>
      <dgm:spPr/>
    </dgm:pt>
    <dgm:pt modelId="{6EAB33CF-BB4A-AF43-9A58-0949701C3E7C}" type="pres">
      <dgm:prSet presAssocID="{6F76768C-8930-DC4D-BDFD-3859CA8F3AEF}" presName="hierChild3" presStyleCnt="0"/>
      <dgm:spPr/>
    </dgm:pt>
    <dgm:pt modelId="{40EFC4CF-9D64-CD4D-99E3-BB9234B1B387}" type="pres">
      <dgm:prSet presAssocID="{BE826F38-BE77-8748-9AA0-A34FA9BECDFC}" presName="Name111" presStyleLbl="parChTrans1D2" presStyleIdx="1" presStyleCnt="2"/>
      <dgm:spPr/>
    </dgm:pt>
    <dgm:pt modelId="{37FECEAA-2CB0-0B4F-AE5B-ECD373D23E50}" type="pres">
      <dgm:prSet presAssocID="{75680FE9-A183-7F46-AE46-AAA45D926338}" presName="hierRoot3" presStyleCnt="0">
        <dgm:presLayoutVars>
          <dgm:hierBranch val="init"/>
        </dgm:presLayoutVars>
      </dgm:prSet>
      <dgm:spPr/>
    </dgm:pt>
    <dgm:pt modelId="{C97521B7-9312-7347-A20E-656AD8482C60}" type="pres">
      <dgm:prSet presAssocID="{75680FE9-A183-7F46-AE46-AAA45D926338}" presName="rootComposite3" presStyleCnt="0"/>
      <dgm:spPr/>
    </dgm:pt>
    <dgm:pt modelId="{FBA139FB-7981-5741-8C73-38720E1BEA08}" type="pres">
      <dgm:prSet presAssocID="{75680FE9-A183-7F46-AE46-AAA45D926338}" presName="rootText3" presStyleLbl="asst1" presStyleIdx="0" presStyleCnt="1" custScaleX="554132" custLinFactNeighborX="-40857" custLinFactNeighborY="-34354">
        <dgm:presLayoutVars>
          <dgm:chPref val="3"/>
        </dgm:presLayoutVars>
      </dgm:prSet>
      <dgm:spPr/>
    </dgm:pt>
    <dgm:pt modelId="{3FC29048-96F5-FA47-9994-B25D8EC596F7}" type="pres">
      <dgm:prSet presAssocID="{75680FE9-A183-7F46-AE46-AAA45D926338}" presName="rootConnector3" presStyleLbl="asst1" presStyleIdx="0" presStyleCnt="1"/>
      <dgm:spPr/>
    </dgm:pt>
    <dgm:pt modelId="{E3C20A1A-B85B-B54F-BEAD-6E800A77A853}" type="pres">
      <dgm:prSet presAssocID="{75680FE9-A183-7F46-AE46-AAA45D926338}" presName="hierChild6" presStyleCnt="0"/>
      <dgm:spPr/>
    </dgm:pt>
    <dgm:pt modelId="{979916F8-8B59-0640-B2EC-BBA0FFC9A025}" type="pres">
      <dgm:prSet presAssocID="{75680FE9-A183-7F46-AE46-AAA45D926338}" presName="hierChild7" presStyleCnt="0"/>
      <dgm:spPr/>
    </dgm:pt>
  </dgm:ptLst>
  <dgm:cxnLst>
    <dgm:cxn modelId="{094E8207-31C3-8848-A38E-E426D0FAC383}" type="presOf" srcId="{BC3C7C48-9DB8-434A-89B2-E2F95B4BEBF0}" destId="{AA9CB024-A06E-414E-9E2D-2F27C43A349A}" srcOrd="0" destOrd="0" presId="urn:microsoft.com/office/officeart/2005/8/layout/orgChart1"/>
    <dgm:cxn modelId="{0E735711-66AB-DE47-B1F8-70D5D6250D6D}" type="presOf" srcId="{AD53DA97-CD21-2F41-9427-1B8DE9D8E5C4}" destId="{8E7B7DEF-FA80-584F-8165-E0E89A71D382}" srcOrd="1" destOrd="0" presId="urn:microsoft.com/office/officeart/2005/8/layout/orgChart1"/>
    <dgm:cxn modelId="{EE04E315-EB2D-F64D-9EB7-5E9059EAC075}" type="presOf" srcId="{8310B8EA-2D95-7C49-93D5-DD25014E1009}" destId="{55397FDA-2E56-DF4A-83E0-63E7FD7CD64D}" srcOrd="1" destOrd="0" presId="urn:microsoft.com/office/officeart/2005/8/layout/orgChart1"/>
    <dgm:cxn modelId="{4BA5D71B-F2D5-AD45-ADD3-644ED1E62D53}" type="presOf" srcId="{BC3C7C48-9DB8-434A-89B2-E2F95B4BEBF0}" destId="{433194D3-E270-CA41-9556-9202738ED375}" srcOrd="1" destOrd="0" presId="urn:microsoft.com/office/officeart/2005/8/layout/orgChart1"/>
    <dgm:cxn modelId="{84C8D122-39FC-4F4D-B8ED-8C5ADD538B17}" type="presOf" srcId="{63448D02-EA37-9044-9349-013F385E44AE}" destId="{AAF9FCC8-2D7E-D14F-9F87-73118CA71ED4}" srcOrd="1" destOrd="0" presId="urn:microsoft.com/office/officeart/2005/8/layout/orgChart1"/>
    <dgm:cxn modelId="{F8D6A628-3B2A-0049-A610-82F2C14E20DD}" type="presOf" srcId="{75680FE9-A183-7F46-AE46-AAA45D926338}" destId="{FBA139FB-7981-5741-8C73-38720E1BEA08}" srcOrd="0" destOrd="0" presId="urn:microsoft.com/office/officeart/2005/8/layout/orgChart1"/>
    <dgm:cxn modelId="{7F4D512C-C5AB-5648-AC52-218FB0DB3A70}" type="presOf" srcId="{52D34136-1297-AF43-AAFD-5CE275CEB496}" destId="{F9F18EB7-CBAD-BC4A-A984-4B8D78B8DC0B}" srcOrd="0" destOrd="0" presId="urn:microsoft.com/office/officeart/2005/8/layout/orgChart1"/>
    <dgm:cxn modelId="{1854D533-537E-0E4F-B570-FE61235D1429}" type="presOf" srcId="{EFE69F94-A88D-4C4F-A935-03B71807949E}" destId="{CBC809B0-656C-3D4B-936E-CB9B66D008BA}" srcOrd="0" destOrd="0" presId="urn:microsoft.com/office/officeart/2005/8/layout/orgChart1"/>
    <dgm:cxn modelId="{CB639437-1EF1-0A47-ABFF-0D03E9BD284B}" srcId="{32FE59C3-7BA0-DC4F-969B-9BBDC9126775}" destId="{6F76768C-8930-DC4D-BDFD-3859CA8F3AEF}" srcOrd="0" destOrd="0" parTransId="{B79C005B-0CC5-224F-B12F-76CBA8167ECA}" sibTransId="{280A9DE8-A6A8-184E-8068-E5660A6E7ED3}"/>
    <dgm:cxn modelId="{224CC53F-8F26-1A4B-B5D8-B9B98B704D78}" type="presOf" srcId="{6F76768C-8930-DC4D-BDFD-3859CA8F3AEF}" destId="{288CCEEA-DED1-2F49-98ED-6A05822E5D8C}" srcOrd="1" destOrd="0" presId="urn:microsoft.com/office/officeart/2005/8/layout/orgChart1"/>
    <dgm:cxn modelId="{DDE8905B-ABAA-594D-A0C7-E20712263B31}" type="presOf" srcId="{28FDCF40-ADBA-3B40-8BE1-272C8BB41105}" destId="{DB5EBAB8-9D8A-6F4B-939B-94467887D1FF}" srcOrd="0" destOrd="0" presId="urn:microsoft.com/office/officeart/2005/8/layout/orgChart1"/>
    <dgm:cxn modelId="{740DB15D-6AA9-9947-90DF-B992612F6808}" type="presOf" srcId="{AD53DA97-CD21-2F41-9427-1B8DE9D8E5C4}" destId="{D7710399-F45C-EC44-9C23-59F7D67E3F6A}" srcOrd="0" destOrd="0" presId="urn:microsoft.com/office/officeart/2005/8/layout/orgChart1"/>
    <dgm:cxn modelId="{FBFD315E-17A7-B648-8693-E82601AB661D}" type="presOf" srcId="{32FE59C3-7BA0-DC4F-969B-9BBDC9126775}" destId="{C0A07237-CDB6-7746-A0DE-B59AB155771C}" srcOrd="0" destOrd="0" presId="urn:microsoft.com/office/officeart/2005/8/layout/orgChart1"/>
    <dgm:cxn modelId="{F3BADD61-5A73-E949-A654-8C926D1BB824}" srcId="{FE2C4122-BA0F-2B4A-9208-ABF93137B530}" destId="{AD53DA97-CD21-2F41-9427-1B8DE9D8E5C4}" srcOrd="4" destOrd="0" parTransId="{28FDCF40-ADBA-3B40-8BE1-272C8BB41105}" sibTransId="{D355E820-84BB-0149-A143-5D5CFE2C4C00}"/>
    <dgm:cxn modelId="{C9633E44-4633-5B43-8778-F6426D372947}" type="presOf" srcId="{8310B8EA-2D95-7C49-93D5-DD25014E1009}" destId="{1DFD96A8-D936-154A-BBFB-5CC20F5E9969}" srcOrd="0" destOrd="0" presId="urn:microsoft.com/office/officeart/2005/8/layout/orgChart1"/>
    <dgm:cxn modelId="{FC34D869-13C5-8F4F-87F8-C9F35F7A9F4F}" type="presOf" srcId="{FE2C4122-BA0F-2B4A-9208-ABF93137B530}" destId="{A5302C30-FBA2-1946-9773-531D14778259}" srcOrd="1" destOrd="0" presId="urn:microsoft.com/office/officeart/2005/8/layout/orgChart1"/>
    <dgm:cxn modelId="{5C320E4D-8801-BD42-9551-65D89F40D6D1}" type="presOf" srcId="{75680FE9-A183-7F46-AE46-AAA45D926338}" destId="{3FC29048-96F5-FA47-9994-B25D8EC596F7}" srcOrd="1" destOrd="0" presId="urn:microsoft.com/office/officeart/2005/8/layout/orgChart1"/>
    <dgm:cxn modelId="{D08B5F4F-6599-1E4B-BDF4-DF758706806B}" srcId="{FE2C4122-BA0F-2B4A-9208-ABF93137B530}" destId="{FFC334B8-021A-674A-A71C-5ED46635D075}" srcOrd="2" destOrd="0" parTransId="{EFE69F94-A88D-4C4F-A935-03B71807949E}" sibTransId="{387182BF-38B2-AD48-AE86-64FBF69ED0AA}"/>
    <dgm:cxn modelId="{F985AC77-2910-4D4B-A283-9D08DB7CB376}" srcId="{FE2C4122-BA0F-2B4A-9208-ABF93137B530}" destId="{BC3C7C48-9DB8-434A-89B2-E2F95B4BEBF0}" srcOrd="0" destOrd="0" parTransId="{600982FA-3670-6043-9DB4-D05D3DB4D311}" sibTransId="{3668DD38-996A-C641-A6A7-41F8F7BF8A5B}"/>
    <dgm:cxn modelId="{39892186-B97B-CB48-A6C9-36A413C78C5B}" type="presOf" srcId="{511C9495-0383-714F-92E0-82EFC992220A}" destId="{0F835542-BBA0-7C4F-9CF2-074B68206E17}" srcOrd="0" destOrd="0" presId="urn:microsoft.com/office/officeart/2005/8/layout/orgChart1"/>
    <dgm:cxn modelId="{2093738A-3A0C-514C-B7F3-E01825247AA5}" type="presOf" srcId="{FE2C4122-BA0F-2B4A-9208-ABF93137B530}" destId="{BA43B357-CCB4-AA4D-9811-90BC7D600313}" srcOrd="0" destOrd="0" presId="urn:microsoft.com/office/officeart/2005/8/layout/orgChart1"/>
    <dgm:cxn modelId="{AC26DF98-334B-8644-B50A-37477F17428F}" srcId="{6F76768C-8930-DC4D-BDFD-3859CA8F3AEF}" destId="{75680FE9-A183-7F46-AE46-AAA45D926338}" srcOrd="0" destOrd="0" parTransId="{BE826F38-BE77-8748-9AA0-A34FA9BECDFC}" sibTransId="{89879A45-D75D-F847-82E0-B2BB80826E95}"/>
    <dgm:cxn modelId="{AAC1749D-13C9-8747-B2A6-42C9226AD05C}" srcId="{6F76768C-8930-DC4D-BDFD-3859CA8F3AEF}" destId="{FE2C4122-BA0F-2B4A-9208-ABF93137B530}" srcOrd="1" destOrd="0" parTransId="{4E20C78A-857D-B747-AF42-F074C7D6F170}" sibTransId="{AEC5A6B3-DFBF-6D47-820E-DDD42E6713F3}"/>
    <dgm:cxn modelId="{388DB4AC-A9C5-3C44-AE90-B4279ABF1F93}" srcId="{FE2C4122-BA0F-2B4A-9208-ABF93137B530}" destId="{8310B8EA-2D95-7C49-93D5-DD25014E1009}" srcOrd="1" destOrd="0" parTransId="{511C9495-0383-714F-92E0-82EFC992220A}" sibTransId="{5BC01EE7-01A8-3E40-A1BF-5E211E9B63A1}"/>
    <dgm:cxn modelId="{F45B04BB-AA9A-174C-B43A-E615C8F958A8}" type="presOf" srcId="{600982FA-3670-6043-9DB4-D05D3DB4D311}" destId="{F6EFADD8-4C13-8F4B-BFF4-6A569BA1A014}" srcOrd="0" destOrd="0" presId="urn:microsoft.com/office/officeart/2005/8/layout/orgChart1"/>
    <dgm:cxn modelId="{95A640BC-46B3-304F-9705-A86DF1AE2AD5}" srcId="{FE2C4122-BA0F-2B4A-9208-ABF93137B530}" destId="{63448D02-EA37-9044-9349-013F385E44AE}" srcOrd="3" destOrd="0" parTransId="{52D34136-1297-AF43-AAFD-5CE275CEB496}" sibTransId="{C2260482-15DA-6543-BD04-4558C69141E3}"/>
    <dgm:cxn modelId="{CC07A0C2-FAC7-094E-9E58-B25C91FB54C0}" type="presOf" srcId="{4E20C78A-857D-B747-AF42-F074C7D6F170}" destId="{AAEF8BE6-33BF-F54A-A434-D7DE5BEE2079}" srcOrd="0" destOrd="0" presId="urn:microsoft.com/office/officeart/2005/8/layout/orgChart1"/>
    <dgm:cxn modelId="{180EB0C7-7DCA-324D-802B-0E3943C50F5C}" type="presOf" srcId="{6F76768C-8930-DC4D-BDFD-3859CA8F3AEF}" destId="{4DED179F-B4A8-A142-A0AA-5D6A6639685F}" srcOrd="0" destOrd="0" presId="urn:microsoft.com/office/officeart/2005/8/layout/orgChart1"/>
    <dgm:cxn modelId="{F9538EC8-1E4F-1F42-A341-BCE6AC7615C3}" type="presOf" srcId="{FFC334B8-021A-674A-A71C-5ED46635D075}" destId="{4E4769AE-0627-8E48-A84D-36B9979D5262}" srcOrd="1" destOrd="0" presId="urn:microsoft.com/office/officeart/2005/8/layout/orgChart1"/>
    <dgm:cxn modelId="{2B4178E8-9D2C-3843-97A6-88497ED2F0F2}" type="presOf" srcId="{BE826F38-BE77-8748-9AA0-A34FA9BECDFC}" destId="{40EFC4CF-9D64-CD4D-99E3-BB9234B1B387}" srcOrd="0" destOrd="0" presId="urn:microsoft.com/office/officeart/2005/8/layout/orgChart1"/>
    <dgm:cxn modelId="{FC0FF5EA-6371-1B40-9B74-46157095DA27}" type="presOf" srcId="{63448D02-EA37-9044-9349-013F385E44AE}" destId="{B7C8D921-A658-1F42-A3C5-F0232C787520}" srcOrd="0" destOrd="0" presId="urn:microsoft.com/office/officeart/2005/8/layout/orgChart1"/>
    <dgm:cxn modelId="{A22FE0F4-9840-9E40-80C5-7550F9B2C0B5}" type="presOf" srcId="{FFC334B8-021A-674A-A71C-5ED46635D075}" destId="{98E39E23-BB3A-434E-AF35-540047101BD2}" srcOrd="0" destOrd="0" presId="urn:microsoft.com/office/officeart/2005/8/layout/orgChart1"/>
    <dgm:cxn modelId="{791342DF-5E45-4D42-A1E8-AE85EE87BEA9}" type="presParOf" srcId="{C0A07237-CDB6-7746-A0DE-B59AB155771C}" destId="{109A0926-3316-5B48-B007-FED442DA328F}" srcOrd="0" destOrd="0" presId="urn:microsoft.com/office/officeart/2005/8/layout/orgChart1"/>
    <dgm:cxn modelId="{43B4816E-F357-ED4B-A1CA-DE1C98E4C347}" type="presParOf" srcId="{109A0926-3316-5B48-B007-FED442DA328F}" destId="{CDCC3EA8-A49A-B846-BCE9-0C9DA44D27D1}" srcOrd="0" destOrd="0" presId="urn:microsoft.com/office/officeart/2005/8/layout/orgChart1"/>
    <dgm:cxn modelId="{BB6993E3-4BAA-FF49-BFA4-88AFE56A7311}" type="presParOf" srcId="{CDCC3EA8-A49A-B846-BCE9-0C9DA44D27D1}" destId="{4DED179F-B4A8-A142-A0AA-5D6A6639685F}" srcOrd="0" destOrd="0" presId="urn:microsoft.com/office/officeart/2005/8/layout/orgChart1"/>
    <dgm:cxn modelId="{6C537B67-FACF-4446-ABB5-F9A5401D64BF}" type="presParOf" srcId="{CDCC3EA8-A49A-B846-BCE9-0C9DA44D27D1}" destId="{288CCEEA-DED1-2F49-98ED-6A05822E5D8C}" srcOrd="1" destOrd="0" presId="urn:microsoft.com/office/officeart/2005/8/layout/orgChart1"/>
    <dgm:cxn modelId="{CAB943E4-5F65-8942-A52F-B7FD0C1D0F63}" type="presParOf" srcId="{109A0926-3316-5B48-B007-FED442DA328F}" destId="{3E9041D3-C58E-7644-A7EE-A18C96DC3985}" srcOrd="1" destOrd="0" presId="urn:microsoft.com/office/officeart/2005/8/layout/orgChart1"/>
    <dgm:cxn modelId="{923175B2-B242-584B-A867-C5857069807B}" type="presParOf" srcId="{3E9041D3-C58E-7644-A7EE-A18C96DC3985}" destId="{AAEF8BE6-33BF-F54A-A434-D7DE5BEE2079}" srcOrd="0" destOrd="0" presId="urn:microsoft.com/office/officeart/2005/8/layout/orgChart1"/>
    <dgm:cxn modelId="{B60D2AEA-760B-6449-A0CB-ACB0A6A7116E}" type="presParOf" srcId="{3E9041D3-C58E-7644-A7EE-A18C96DC3985}" destId="{3BC3F308-1B41-9449-A047-F5D038C18DE8}" srcOrd="1" destOrd="0" presId="urn:microsoft.com/office/officeart/2005/8/layout/orgChart1"/>
    <dgm:cxn modelId="{93E20138-4784-F649-ACB6-9D99AFE4BA04}" type="presParOf" srcId="{3BC3F308-1B41-9449-A047-F5D038C18DE8}" destId="{4EB1DC6A-582D-3D42-AA96-0FE5D3001DCE}" srcOrd="0" destOrd="0" presId="urn:microsoft.com/office/officeart/2005/8/layout/orgChart1"/>
    <dgm:cxn modelId="{B312D98F-B0E6-274B-87B3-AD8FDB521F8C}" type="presParOf" srcId="{4EB1DC6A-582D-3D42-AA96-0FE5D3001DCE}" destId="{BA43B357-CCB4-AA4D-9811-90BC7D600313}" srcOrd="0" destOrd="0" presId="urn:microsoft.com/office/officeart/2005/8/layout/orgChart1"/>
    <dgm:cxn modelId="{FB94F3F7-41BA-C347-9F1E-66A3BFFDD507}" type="presParOf" srcId="{4EB1DC6A-582D-3D42-AA96-0FE5D3001DCE}" destId="{A5302C30-FBA2-1946-9773-531D14778259}" srcOrd="1" destOrd="0" presId="urn:microsoft.com/office/officeart/2005/8/layout/orgChart1"/>
    <dgm:cxn modelId="{61DDC6A2-C49B-2E40-90BC-264874C1D100}" type="presParOf" srcId="{3BC3F308-1B41-9449-A047-F5D038C18DE8}" destId="{41C58CEE-7F34-1045-9424-2185B002AFD2}" srcOrd="1" destOrd="0" presId="urn:microsoft.com/office/officeart/2005/8/layout/orgChart1"/>
    <dgm:cxn modelId="{8D4889C4-915F-A842-9B7C-C5D1EF6BF533}" type="presParOf" srcId="{41C58CEE-7F34-1045-9424-2185B002AFD2}" destId="{F6EFADD8-4C13-8F4B-BFF4-6A569BA1A014}" srcOrd="0" destOrd="0" presId="urn:microsoft.com/office/officeart/2005/8/layout/orgChart1"/>
    <dgm:cxn modelId="{743802E4-04E5-F040-8A9D-34B3071F9894}" type="presParOf" srcId="{41C58CEE-7F34-1045-9424-2185B002AFD2}" destId="{A3CA0B41-A19C-AB40-9759-85036E20C6D8}" srcOrd="1" destOrd="0" presId="urn:microsoft.com/office/officeart/2005/8/layout/orgChart1"/>
    <dgm:cxn modelId="{03D96BB1-9521-D641-A54B-2D02EC2D21D2}" type="presParOf" srcId="{A3CA0B41-A19C-AB40-9759-85036E20C6D8}" destId="{351CC966-BF62-744A-9E28-0CD53F8D8881}" srcOrd="0" destOrd="0" presId="urn:microsoft.com/office/officeart/2005/8/layout/orgChart1"/>
    <dgm:cxn modelId="{EDCD30BA-8899-1A43-A840-7F4C6EFC9141}" type="presParOf" srcId="{351CC966-BF62-744A-9E28-0CD53F8D8881}" destId="{AA9CB024-A06E-414E-9E2D-2F27C43A349A}" srcOrd="0" destOrd="0" presId="urn:microsoft.com/office/officeart/2005/8/layout/orgChart1"/>
    <dgm:cxn modelId="{362C12F5-507B-C349-AE7D-93E3266CB120}" type="presParOf" srcId="{351CC966-BF62-744A-9E28-0CD53F8D8881}" destId="{433194D3-E270-CA41-9556-9202738ED375}" srcOrd="1" destOrd="0" presId="urn:microsoft.com/office/officeart/2005/8/layout/orgChart1"/>
    <dgm:cxn modelId="{BE88815C-24EF-C341-A8BE-B55E3D1FB423}" type="presParOf" srcId="{A3CA0B41-A19C-AB40-9759-85036E20C6D8}" destId="{E7D3480E-70D6-C34A-A7EC-271499681A03}" srcOrd="1" destOrd="0" presId="urn:microsoft.com/office/officeart/2005/8/layout/orgChart1"/>
    <dgm:cxn modelId="{9F30F5C6-11FE-9845-84DD-77B2F8754688}" type="presParOf" srcId="{A3CA0B41-A19C-AB40-9759-85036E20C6D8}" destId="{117476F9-A0D2-4149-971D-BE1D247ECF01}" srcOrd="2" destOrd="0" presId="urn:microsoft.com/office/officeart/2005/8/layout/orgChart1"/>
    <dgm:cxn modelId="{66BBB051-6576-3847-9EAE-0DC0EB3F3D5F}" type="presParOf" srcId="{41C58CEE-7F34-1045-9424-2185B002AFD2}" destId="{0F835542-BBA0-7C4F-9CF2-074B68206E17}" srcOrd="2" destOrd="0" presId="urn:microsoft.com/office/officeart/2005/8/layout/orgChart1"/>
    <dgm:cxn modelId="{2FC2A40D-7464-CA41-A1B7-BB56F0D81E6A}" type="presParOf" srcId="{41C58CEE-7F34-1045-9424-2185B002AFD2}" destId="{A222AC0D-2217-014B-BCEC-8443E25677F5}" srcOrd="3" destOrd="0" presId="urn:microsoft.com/office/officeart/2005/8/layout/orgChart1"/>
    <dgm:cxn modelId="{03F01DF1-96B1-A549-81FF-7EC905AAF63B}" type="presParOf" srcId="{A222AC0D-2217-014B-BCEC-8443E25677F5}" destId="{C049F4A5-C867-D54E-B94E-9942EACEC369}" srcOrd="0" destOrd="0" presId="urn:microsoft.com/office/officeart/2005/8/layout/orgChart1"/>
    <dgm:cxn modelId="{887B4BC1-EFD3-2244-97D8-209B851236E0}" type="presParOf" srcId="{C049F4A5-C867-D54E-B94E-9942EACEC369}" destId="{1DFD96A8-D936-154A-BBFB-5CC20F5E9969}" srcOrd="0" destOrd="0" presId="urn:microsoft.com/office/officeart/2005/8/layout/orgChart1"/>
    <dgm:cxn modelId="{92114AC0-632C-7045-AABE-296517131964}" type="presParOf" srcId="{C049F4A5-C867-D54E-B94E-9942EACEC369}" destId="{55397FDA-2E56-DF4A-83E0-63E7FD7CD64D}" srcOrd="1" destOrd="0" presId="urn:microsoft.com/office/officeart/2005/8/layout/orgChart1"/>
    <dgm:cxn modelId="{0B1DFC4E-B9ED-C946-A52D-298955302A5E}" type="presParOf" srcId="{A222AC0D-2217-014B-BCEC-8443E25677F5}" destId="{D1B2ED89-6979-B348-9D61-8E5EC56AC771}" srcOrd="1" destOrd="0" presId="urn:microsoft.com/office/officeart/2005/8/layout/orgChart1"/>
    <dgm:cxn modelId="{8BC70BB7-9CC8-B449-877E-6E8953A4E8F3}" type="presParOf" srcId="{A222AC0D-2217-014B-BCEC-8443E25677F5}" destId="{9903F71F-64A2-AA40-BCE6-BF4AA408365F}" srcOrd="2" destOrd="0" presId="urn:microsoft.com/office/officeart/2005/8/layout/orgChart1"/>
    <dgm:cxn modelId="{886F1040-7C47-0D40-8667-94BB171A690A}" type="presParOf" srcId="{41C58CEE-7F34-1045-9424-2185B002AFD2}" destId="{CBC809B0-656C-3D4B-936E-CB9B66D008BA}" srcOrd="4" destOrd="0" presId="urn:microsoft.com/office/officeart/2005/8/layout/orgChart1"/>
    <dgm:cxn modelId="{948644F3-21F6-4B4D-A43E-68F5BC86BFFF}" type="presParOf" srcId="{41C58CEE-7F34-1045-9424-2185B002AFD2}" destId="{10D53730-7FAD-334E-815E-BA95ADC89D9C}" srcOrd="5" destOrd="0" presId="urn:microsoft.com/office/officeart/2005/8/layout/orgChart1"/>
    <dgm:cxn modelId="{83E4A219-4406-6646-BA95-598930C0C430}" type="presParOf" srcId="{10D53730-7FAD-334E-815E-BA95ADC89D9C}" destId="{9DEF9190-666E-024D-A929-8D5FCE293E04}" srcOrd="0" destOrd="0" presId="urn:microsoft.com/office/officeart/2005/8/layout/orgChart1"/>
    <dgm:cxn modelId="{61BD0F57-8E97-204F-B471-CB5D90D653F2}" type="presParOf" srcId="{9DEF9190-666E-024D-A929-8D5FCE293E04}" destId="{98E39E23-BB3A-434E-AF35-540047101BD2}" srcOrd="0" destOrd="0" presId="urn:microsoft.com/office/officeart/2005/8/layout/orgChart1"/>
    <dgm:cxn modelId="{9D36DE65-B86D-1442-AA7A-2FCACCC9E539}" type="presParOf" srcId="{9DEF9190-666E-024D-A929-8D5FCE293E04}" destId="{4E4769AE-0627-8E48-A84D-36B9979D5262}" srcOrd="1" destOrd="0" presId="urn:microsoft.com/office/officeart/2005/8/layout/orgChart1"/>
    <dgm:cxn modelId="{CBFCD53A-5FA8-5D4D-8221-9BFC8055F553}" type="presParOf" srcId="{10D53730-7FAD-334E-815E-BA95ADC89D9C}" destId="{EA5D6C9A-556B-D14B-84FB-BA812874D15D}" srcOrd="1" destOrd="0" presId="urn:microsoft.com/office/officeart/2005/8/layout/orgChart1"/>
    <dgm:cxn modelId="{98018777-D64B-724C-8B39-E0564A8035B4}" type="presParOf" srcId="{10D53730-7FAD-334E-815E-BA95ADC89D9C}" destId="{B04AB1D9-60A1-B944-B2CA-60B94A3C71F8}" srcOrd="2" destOrd="0" presId="urn:microsoft.com/office/officeart/2005/8/layout/orgChart1"/>
    <dgm:cxn modelId="{A63DEE5F-CE23-EB4C-90FF-D083EFE1FE5E}" type="presParOf" srcId="{41C58CEE-7F34-1045-9424-2185B002AFD2}" destId="{F9F18EB7-CBAD-BC4A-A984-4B8D78B8DC0B}" srcOrd="6" destOrd="0" presId="urn:microsoft.com/office/officeart/2005/8/layout/orgChart1"/>
    <dgm:cxn modelId="{841041FA-8368-1849-8F12-5EF315BDF456}" type="presParOf" srcId="{41C58CEE-7F34-1045-9424-2185B002AFD2}" destId="{1BF8405A-413A-B64A-BE36-6793F4981FD9}" srcOrd="7" destOrd="0" presId="urn:microsoft.com/office/officeart/2005/8/layout/orgChart1"/>
    <dgm:cxn modelId="{EE965A35-044D-B549-9D63-44DC3B63C2E0}" type="presParOf" srcId="{1BF8405A-413A-B64A-BE36-6793F4981FD9}" destId="{26493613-7DC0-A94B-AAE9-3990DD3259C3}" srcOrd="0" destOrd="0" presId="urn:microsoft.com/office/officeart/2005/8/layout/orgChart1"/>
    <dgm:cxn modelId="{E2224395-AF92-4243-BDD7-491E5C93439D}" type="presParOf" srcId="{26493613-7DC0-A94B-AAE9-3990DD3259C3}" destId="{B7C8D921-A658-1F42-A3C5-F0232C787520}" srcOrd="0" destOrd="0" presId="urn:microsoft.com/office/officeart/2005/8/layout/orgChart1"/>
    <dgm:cxn modelId="{1551D8D7-8AF1-5D41-93EC-2C49BD6F12F4}" type="presParOf" srcId="{26493613-7DC0-A94B-AAE9-3990DD3259C3}" destId="{AAF9FCC8-2D7E-D14F-9F87-73118CA71ED4}" srcOrd="1" destOrd="0" presId="urn:microsoft.com/office/officeart/2005/8/layout/orgChart1"/>
    <dgm:cxn modelId="{D26D54B3-4F8A-8141-AC08-1B46A3790A7F}" type="presParOf" srcId="{1BF8405A-413A-B64A-BE36-6793F4981FD9}" destId="{FCEBEE4F-4F43-0947-90B1-EF08385F28B8}" srcOrd="1" destOrd="0" presId="urn:microsoft.com/office/officeart/2005/8/layout/orgChart1"/>
    <dgm:cxn modelId="{2DA2D472-CDBF-1D4B-BE5B-2A859E93CB43}" type="presParOf" srcId="{1BF8405A-413A-B64A-BE36-6793F4981FD9}" destId="{A4F56B5A-7542-3245-98F3-0F73909B31A8}" srcOrd="2" destOrd="0" presId="urn:microsoft.com/office/officeart/2005/8/layout/orgChart1"/>
    <dgm:cxn modelId="{88FB73F1-2478-0441-AC9E-D2BA3F3D17F7}" type="presParOf" srcId="{41C58CEE-7F34-1045-9424-2185B002AFD2}" destId="{DB5EBAB8-9D8A-6F4B-939B-94467887D1FF}" srcOrd="8" destOrd="0" presId="urn:microsoft.com/office/officeart/2005/8/layout/orgChart1"/>
    <dgm:cxn modelId="{43B24980-08B2-4E4D-8C0C-A83534B16959}" type="presParOf" srcId="{41C58CEE-7F34-1045-9424-2185B002AFD2}" destId="{01B91550-3C22-E64D-8BA3-DC5E545FAEA1}" srcOrd="9" destOrd="0" presId="urn:microsoft.com/office/officeart/2005/8/layout/orgChart1"/>
    <dgm:cxn modelId="{A8F982A9-AAB2-B740-B1CB-F345FA57F12B}" type="presParOf" srcId="{01B91550-3C22-E64D-8BA3-DC5E545FAEA1}" destId="{A6A901A1-395F-6A40-9FE6-19DC93649664}" srcOrd="0" destOrd="0" presId="urn:microsoft.com/office/officeart/2005/8/layout/orgChart1"/>
    <dgm:cxn modelId="{D39D0F89-DEE5-4148-999D-CA84C8BF2617}" type="presParOf" srcId="{A6A901A1-395F-6A40-9FE6-19DC93649664}" destId="{D7710399-F45C-EC44-9C23-59F7D67E3F6A}" srcOrd="0" destOrd="0" presId="urn:microsoft.com/office/officeart/2005/8/layout/orgChart1"/>
    <dgm:cxn modelId="{328C90FC-6CF5-834C-8B75-A175DAA0754D}" type="presParOf" srcId="{A6A901A1-395F-6A40-9FE6-19DC93649664}" destId="{8E7B7DEF-FA80-584F-8165-E0E89A71D382}" srcOrd="1" destOrd="0" presId="urn:microsoft.com/office/officeart/2005/8/layout/orgChart1"/>
    <dgm:cxn modelId="{E2AEC8CD-8498-2F4B-B610-1FF8C3B913E1}" type="presParOf" srcId="{01B91550-3C22-E64D-8BA3-DC5E545FAEA1}" destId="{738F7E61-0CC6-A14C-A1A3-6B1500536351}" srcOrd="1" destOrd="0" presId="urn:microsoft.com/office/officeart/2005/8/layout/orgChart1"/>
    <dgm:cxn modelId="{A2529082-659B-A545-995B-ADFBD3A20C5A}" type="presParOf" srcId="{01B91550-3C22-E64D-8BA3-DC5E545FAEA1}" destId="{B283AF94-6D68-1449-B3CC-1CE14EA5B930}" srcOrd="2" destOrd="0" presId="urn:microsoft.com/office/officeart/2005/8/layout/orgChart1"/>
    <dgm:cxn modelId="{8100C29B-9167-E648-AF64-8BD538ED0407}" type="presParOf" srcId="{3BC3F308-1B41-9449-A047-F5D038C18DE8}" destId="{6074D3F3-C839-7E48-B24C-B59F1EC83D12}" srcOrd="2" destOrd="0" presId="urn:microsoft.com/office/officeart/2005/8/layout/orgChart1"/>
    <dgm:cxn modelId="{CBA0C4AC-2E5F-0C4A-8A92-C517B430FB9B}" type="presParOf" srcId="{109A0926-3316-5B48-B007-FED442DA328F}" destId="{6EAB33CF-BB4A-AF43-9A58-0949701C3E7C}" srcOrd="2" destOrd="0" presId="urn:microsoft.com/office/officeart/2005/8/layout/orgChart1"/>
    <dgm:cxn modelId="{E7D714A5-9065-8348-BFEA-BBC533BE9228}" type="presParOf" srcId="{6EAB33CF-BB4A-AF43-9A58-0949701C3E7C}" destId="{40EFC4CF-9D64-CD4D-99E3-BB9234B1B387}" srcOrd="0" destOrd="0" presId="urn:microsoft.com/office/officeart/2005/8/layout/orgChart1"/>
    <dgm:cxn modelId="{74154AA4-246E-C244-BFB1-52295F77FBE7}" type="presParOf" srcId="{6EAB33CF-BB4A-AF43-9A58-0949701C3E7C}" destId="{37FECEAA-2CB0-0B4F-AE5B-ECD373D23E50}" srcOrd="1" destOrd="0" presId="urn:microsoft.com/office/officeart/2005/8/layout/orgChart1"/>
    <dgm:cxn modelId="{3281E9A1-7765-B54B-81E4-0D12F0FD08CC}" type="presParOf" srcId="{37FECEAA-2CB0-0B4F-AE5B-ECD373D23E50}" destId="{C97521B7-9312-7347-A20E-656AD8482C60}" srcOrd="0" destOrd="0" presId="urn:microsoft.com/office/officeart/2005/8/layout/orgChart1"/>
    <dgm:cxn modelId="{B6FABB31-CB63-1843-9DA6-2A2B33802174}" type="presParOf" srcId="{C97521B7-9312-7347-A20E-656AD8482C60}" destId="{FBA139FB-7981-5741-8C73-38720E1BEA08}" srcOrd="0" destOrd="0" presId="urn:microsoft.com/office/officeart/2005/8/layout/orgChart1"/>
    <dgm:cxn modelId="{0008FC63-3ECF-B340-B58D-6AF34975D1E4}" type="presParOf" srcId="{C97521B7-9312-7347-A20E-656AD8482C60}" destId="{3FC29048-96F5-FA47-9994-B25D8EC596F7}" srcOrd="1" destOrd="0" presId="urn:microsoft.com/office/officeart/2005/8/layout/orgChart1"/>
    <dgm:cxn modelId="{ADFBC3EA-C7F2-E94C-BB21-9BE250CEB73E}" type="presParOf" srcId="{37FECEAA-2CB0-0B4F-AE5B-ECD373D23E50}" destId="{E3C20A1A-B85B-B54F-BEAD-6E800A77A853}" srcOrd="1" destOrd="0" presId="urn:microsoft.com/office/officeart/2005/8/layout/orgChart1"/>
    <dgm:cxn modelId="{AB611AFD-2511-174F-BFB4-54718B8525C0}" type="presParOf" srcId="{37FECEAA-2CB0-0B4F-AE5B-ECD373D23E50}" destId="{979916F8-8B59-0640-B2EC-BBA0FFC9A025}" srcOrd="2" destOrd="0" presId="urn:microsoft.com/office/officeart/2005/8/layout/orgChart1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150F95C-94CF-4025-B208-985B7D85A97F}" type="doc">
      <dgm:prSet loTypeId="urn:microsoft.com/office/officeart/2005/8/layout/default#1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en-US"/>
        </a:p>
      </dgm:t>
    </dgm:pt>
    <dgm:pt modelId="{E73FF68F-B584-4E61-BEB8-4241DDD43150}">
      <dgm:prSet/>
      <dgm:spPr/>
      <dgm:t>
        <a:bodyPr/>
        <a:lstStyle/>
        <a:p>
          <a:r>
            <a:rPr lang="en-SG" b="1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ăng</a:t>
          </a:r>
          <a:r>
            <a:rPr lang="en-SG" b="1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b="1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lực</a:t>
          </a:r>
          <a:r>
            <a:rPr lang="en-SG" b="1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1</a:t>
          </a:r>
          <a:endParaRPr lang="en-AU" b="1" dirty="0">
            <a:solidFill>
              <a:schemeClr val="tx1"/>
            </a:solidFill>
            <a:effectLst/>
            <a:latin typeface="Times New Roman" pitchFamily="18" charset="0"/>
            <a:cs typeface="Times New Roman" pitchFamily="18" charset="0"/>
          </a:endParaRPr>
        </a:p>
        <a:p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Cam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kết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đối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ới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sự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an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oàn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,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chăm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sóc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à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bảo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ệ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rẻ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em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.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9F29AF29-7B9B-4158-BCF4-96C1CE70B3AB}" type="parTrans" cxnId="{D5FF80AE-97D8-48BD-BCB0-F63DEBE16627}">
      <dgm:prSet/>
      <dgm:spPr/>
      <dgm:t>
        <a:bodyPr/>
        <a:lstStyle/>
        <a:p>
          <a:endParaRPr lang="en-US"/>
        </a:p>
      </dgm:t>
    </dgm:pt>
    <dgm:pt modelId="{2A14498F-CEE6-4E8E-96F2-9A87C4C58726}" type="sibTrans" cxnId="{D5FF80AE-97D8-48BD-BCB0-F63DEBE16627}">
      <dgm:prSet/>
      <dgm:spPr/>
      <dgm:t>
        <a:bodyPr/>
        <a:lstStyle/>
        <a:p>
          <a:endParaRPr lang="en-US"/>
        </a:p>
      </dgm:t>
    </dgm:pt>
    <dgm:pt modelId="{7C590DFA-19F1-4269-B7AB-02EFE37E0FCB}">
      <dgm:prSet/>
      <dgm:spPr/>
      <dgm:t>
        <a:bodyPr/>
        <a:lstStyle/>
        <a:p>
          <a:r>
            <a:rPr lang="en-SG" b="1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ăng</a:t>
          </a:r>
          <a:r>
            <a:rPr lang="en-SG" b="1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b="1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lực</a:t>
          </a:r>
          <a:r>
            <a:rPr lang="en-SG" b="1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2</a:t>
          </a:r>
          <a:endParaRPr lang="en-AU" b="1" dirty="0">
            <a:solidFill>
              <a:schemeClr val="tx1"/>
            </a:solidFill>
            <a:effectLst/>
            <a:latin typeface="Times New Roman" pitchFamily="18" charset="0"/>
            <a:cs typeface="Times New Roman" pitchFamily="18" charset="0"/>
          </a:endParaRPr>
        </a:p>
        <a:p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Kiến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hức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ề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hu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cầu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chăm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sóc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, an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oàn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à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bảo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ệ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của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rẻ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em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9CB30575-B2DC-40FC-A504-78C0BCF8023C}" type="parTrans" cxnId="{87E24B84-CF0B-4416-9FB6-CCA7CEDAA699}">
      <dgm:prSet/>
      <dgm:spPr/>
      <dgm:t>
        <a:bodyPr/>
        <a:lstStyle/>
        <a:p>
          <a:endParaRPr lang="en-US"/>
        </a:p>
      </dgm:t>
    </dgm:pt>
    <dgm:pt modelId="{8F829A04-F494-4AA7-93B6-FDF195E2B986}" type="sibTrans" cxnId="{87E24B84-CF0B-4416-9FB6-CCA7CEDAA699}">
      <dgm:prSet/>
      <dgm:spPr/>
      <dgm:t>
        <a:bodyPr/>
        <a:lstStyle/>
        <a:p>
          <a:endParaRPr lang="en-US"/>
        </a:p>
      </dgm:t>
    </dgm:pt>
    <dgm:pt modelId="{AE021F7F-DB70-46D7-8C6D-F71565D8E589}">
      <dgm:prSet/>
      <dgm:spPr/>
      <dgm:t>
        <a:bodyPr/>
        <a:lstStyle/>
        <a:p>
          <a:r>
            <a:rPr lang="en-SG" b="1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ăng</a:t>
          </a:r>
          <a:r>
            <a:rPr lang="en-SG" b="1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b="1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lực</a:t>
          </a:r>
          <a:r>
            <a:rPr lang="en-SG" b="1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3</a:t>
          </a:r>
        </a:p>
        <a:p>
          <a:r>
            <a:rPr lang="en-US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Kiến</a:t>
          </a:r>
          <a:r>
            <a:rPr lang="en-US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hức</a:t>
          </a:r>
          <a:r>
            <a:rPr lang="en-US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ề</a:t>
          </a:r>
          <a:r>
            <a:rPr lang="en-US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xâm</a:t>
          </a:r>
          <a:r>
            <a:rPr lang="en-US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hại</a:t>
          </a:r>
          <a:r>
            <a:rPr lang="en-US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rẻ</a:t>
          </a:r>
          <a:r>
            <a:rPr lang="en-US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em</a:t>
          </a:r>
          <a:r>
            <a:rPr lang="en-US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– </a:t>
          </a:r>
          <a:r>
            <a:rPr lang="en-US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xâm</a:t>
          </a:r>
          <a:r>
            <a:rPr lang="en-US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hại</a:t>
          </a:r>
          <a:r>
            <a:rPr lang="en-US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à</a:t>
          </a:r>
          <a:r>
            <a:rPr lang="en-US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xao</a:t>
          </a:r>
          <a:r>
            <a:rPr lang="en-US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US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hãng</a:t>
          </a:r>
          <a:r>
            <a:rPr lang="en-US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.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690FED9C-807C-43E0-A076-7C3132903078}" type="parTrans" cxnId="{1AA8081C-71ED-446A-966A-3D426ADB2B19}">
      <dgm:prSet/>
      <dgm:spPr/>
      <dgm:t>
        <a:bodyPr/>
        <a:lstStyle/>
        <a:p>
          <a:endParaRPr lang="en-US"/>
        </a:p>
      </dgm:t>
    </dgm:pt>
    <dgm:pt modelId="{83ACCA76-95AE-4299-9C98-FFBE10FC4E8F}" type="sibTrans" cxnId="{1AA8081C-71ED-446A-966A-3D426ADB2B19}">
      <dgm:prSet/>
      <dgm:spPr/>
      <dgm:t>
        <a:bodyPr/>
        <a:lstStyle/>
        <a:p>
          <a:endParaRPr lang="en-US"/>
        </a:p>
      </dgm:t>
    </dgm:pt>
    <dgm:pt modelId="{F0D17C94-17FA-48B3-A2BC-C50D6F78517D}">
      <dgm:prSet/>
      <dgm:spPr/>
      <dgm:t>
        <a:bodyPr/>
        <a:lstStyle/>
        <a:p>
          <a:r>
            <a:rPr lang="en-AU" b="1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ăng</a:t>
          </a:r>
          <a:r>
            <a:rPr lang="en-AU" b="1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l</a:t>
          </a:r>
          <a:r>
            <a:rPr lang="en-US" b="1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ực</a:t>
          </a:r>
          <a:r>
            <a:rPr lang="en-US" b="1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4</a:t>
          </a:r>
          <a:endParaRPr lang="en-AU" b="1" dirty="0">
            <a:solidFill>
              <a:schemeClr val="tx1"/>
            </a:solidFill>
            <a:effectLst/>
            <a:latin typeface="Times New Roman" pitchFamily="18" charset="0"/>
            <a:cs typeface="Times New Roman" pitchFamily="18" charset="0"/>
          </a:endParaRPr>
        </a:p>
        <a:p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Kiến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hức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à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hiểu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biết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ề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cách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hức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để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ố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cáo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rường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hợp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xâm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hại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rẻ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em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ới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gười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làm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CT BVTE.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CCA7EA99-EF99-4860-BB4F-C497A45D7122}" type="parTrans" cxnId="{C1D4F2E9-9E2A-4C18-B506-326993245780}">
      <dgm:prSet/>
      <dgm:spPr/>
      <dgm:t>
        <a:bodyPr/>
        <a:lstStyle/>
        <a:p>
          <a:endParaRPr lang="en-US"/>
        </a:p>
      </dgm:t>
    </dgm:pt>
    <dgm:pt modelId="{BD1F8FE4-9959-4DDD-8B9E-D7A4FA94A9A3}" type="sibTrans" cxnId="{C1D4F2E9-9E2A-4C18-B506-326993245780}">
      <dgm:prSet/>
      <dgm:spPr/>
      <dgm:t>
        <a:bodyPr/>
        <a:lstStyle/>
        <a:p>
          <a:endParaRPr lang="en-US"/>
        </a:p>
      </dgm:t>
    </dgm:pt>
    <dgm:pt modelId="{8851134D-611F-4210-9AFD-0C9B389802B1}">
      <dgm:prSet/>
      <dgm:spPr/>
      <dgm:t>
        <a:bodyPr/>
        <a:lstStyle/>
        <a:p>
          <a:r>
            <a:rPr lang="en-SG" b="1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ăng</a:t>
          </a:r>
          <a:r>
            <a:rPr lang="en-SG" b="1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b="1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lực</a:t>
          </a:r>
          <a:r>
            <a:rPr lang="en-SG" b="1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5</a:t>
          </a:r>
          <a:endParaRPr lang="en-AU" b="1" dirty="0">
            <a:solidFill>
              <a:schemeClr val="tx1"/>
            </a:solidFill>
            <a:effectLst/>
            <a:latin typeface="Times New Roman" pitchFamily="18" charset="0"/>
            <a:cs typeface="Times New Roman" pitchFamily="18" charset="0"/>
          </a:endParaRPr>
        </a:p>
        <a:p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Kiến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hức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ề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iến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rình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dịch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ụ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BVTE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liên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ục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à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iệc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ra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quyết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định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đảm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bảo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ính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bảo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mật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hông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tin.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45A17BCF-3F7A-430C-80A6-51A753D56DDE}" type="parTrans" cxnId="{762DA01B-019B-4E2A-9333-D5AAF1ECF41D}">
      <dgm:prSet/>
      <dgm:spPr/>
      <dgm:t>
        <a:bodyPr/>
        <a:lstStyle/>
        <a:p>
          <a:endParaRPr lang="en-US"/>
        </a:p>
      </dgm:t>
    </dgm:pt>
    <dgm:pt modelId="{0028F639-C691-4404-99E5-B992C319D176}" type="sibTrans" cxnId="{762DA01B-019B-4E2A-9333-D5AAF1ECF41D}">
      <dgm:prSet/>
      <dgm:spPr/>
      <dgm:t>
        <a:bodyPr/>
        <a:lstStyle/>
        <a:p>
          <a:endParaRPr lang="en-US"/>
        </a:p>
      </dgm:t>
    </dgm:pt>
    <dgm:pt modelId="{F6A798F3-6473-4CC1-8049-164B462E3A74}">
      <dgm:prSet/>
      <dgm:spPr/>
      <dgm:t>
        <a:bodyPr/>
        <a:lstStyle/>
        <a:p>
          <a:r>
            <a:rPr lang="en-SG" b="1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ăng</a:t>
          </a:r>
          <a:r>
            <a:rPr lang="en-SG" b="1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b="1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lực</a:t>
          </a:r>
          <a:r>
            <a:rPr lang="en-SG" b="1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6</a:t>
          </a:r>
          <a:endParaRPr lang="en-AU" b="1" dirty="0">
            <a:solidFill>
              <a:schemeClr val="tx1"/>
            </a:solidFill>
            <a:effectLst/>
            <a:latin typeface="Times New Roman" pitchFamily="18" charset="0"/>
            <a:cs typeface="Times New Roman" pitchFamily="18" charset="0"/>
          </a:endParaRPr>
        </a:p>
        <a:p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Hỗ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rợ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ề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mặt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hành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chính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à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các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guồn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lực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khác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cho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gười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làm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CT BVTE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rực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iếp</a:t>
          </a:r>
          <a:r>
            <a:rPr lang="en-SG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.</a:t>
          </a:r>
          <a:endParaRPr lang="en-US" dirty="0">
            <a:latin typeface="Times New Roman" pitchFamily="18" charset="0"/>
            <a:cs typeface="Times New Roman" pitchFamily="18" charset="0"/>
          </a:endParaRPr>
        </a:p>
      </dgm:t>
    </dgm:pt>
    <dgm:pt modelId="{BAA615EC-A25A-4543-B882-23B390BAD89F}" type="parTrans" cxnId="{B92BE415-7639-4812-84C5-470A7FB3A735}">
      <dgm:prSet/>
      <dgm:spPr/>
      <dgm:t>
        <a:bodyPr/>
        <a:lstStyle/>
        <a:p>
          <a:endParaRPr lang="en-US"/>
        </a:p>
      </dgm:t>
    </dgm:pt>
    <dgm:pt modelId="{83883DFD-5D33-421B-9F40-9D2427ACD297}" type="sibTrans" cxnId="{B92BE415-7639-4812-84C5-470A7FB3A735}">
      <dgm:prSet/>
      <dgm:spPr/>
      <dgm:t>
        <a:bodyPr/>
        <a:lstStyle/>
        <a:p>
          <a:endParaRPr lang="en-US"/>
        </a:p>
      </dgm:t>
    </dgm:pt>
    <dgm:pt modelId="{12DA2512-EC95-4DCF-9AF8-3C9F7F0EBA6F}" type="pres">
      <dgm:prSet presAssocID="{0150F95C-94CF-4025-B208-985B7D85A97F}" presName="diagram" presStyleCnt="0">
        <dgm:presLayoutVars>
          <dgm:dir/>
          <dgm:resizeHandles val="exact"/>
        </dgm:presLayoutVars>
      </dgm:prSet>
      <dgm:spPr/>
    </dgm:pt>
    <dgm:pt modelId="{B6D91367-B4BF-4751-9C83-6EC5B72361E2}" type="pres">
      <dgm:prSet presAssocID="{E73FF68F-B584-4E61-BEB8-4241DDD43150}" presName="node" presStyleLbl="node1" presStyleIdx="0" presStyleCnt="6">
        <dgm:presLayoutVars>
          <dgm:bulletEnabled val="1"/>
        </dgm:presLayoutVars>
      </dgm:prSet>
      <dgm:spPr/>
    </dgm:pt>
    <dgm:pt modelId="{21003713-39E4-410E-A33C-E92121EDD9D4}" type="pres">
      <dgm:prSet presAssocID="{2A14498F-CEE6-4E8E-96F2-9A87C4C58726}" presName="sibTrans" presStyleCnt="0"/>
      <dgm:spPr/>
    </dgm:pt>
    <dgm:pt modelId="{0724E453-1C1E-4307-BD57-2785A68A54B2}" type="pres">
      <dgm:prSet presAssocID="{7C590DFA-19F1-4269-B7AB-02EFE37E0FCB}" presName="node" presStyleLbl="node1" presStyleIdx="1" presStyleCnt="6">
        <dgm:presLayoutVars>
          <dgm:bulletEnabled val="1"/>
        </dgm:presLayoutVars>
      </dgm:prSet>
      <dgm:spPr/>
    </dgm:pt>
    <dgm:pt modelId="{B705A260-F6CC-4C0D-92BA-2BE8360BB627}" type="pres">
      <dgm:prSet presAssocID="{8F829A04-F494-4AA7-93B6-FDF195E2B986}" presName="sibTrans" presStyleCnt="0"/>
      <dgm:spPr/>
    </dgm:pt>
    <dgm:pt modelId="{B4CFE7B5-E3FF-41F0-B4E3-92AD1D7C4DE1}" type="pres">
      <dgm:prSet presAssocID="{AE021F7F-DB70-46D7-8C6D-F71565D8E589}" presName="node" presStyleLbl="node1" presStyleIdx="2" presStyleCnt="6">
        <dgm:presLayoutVars>
          <dgm:bulletEnabled val="1"/>
        </dgm:presLayoutVars>
      </dgm:prSet>
      <dgm:spPr/>
    </dgm:pt>
    <dgm:pt modelId="{EF3C89EF-7DE6-4982-857A-A157CA430008}" type="pres">
      <dgm:prSet presAssocID="{83ACCA76-95AE-4299-9C98-FFBE10FC4E8F}" presName="sibTrans" presStyleCnt="0"/>
      <dgm:spPr/>
    </dgm:pt>
    <dgm:pt modelId="{67000E23-F41F-4962-A920-C1741DBD80BE}" type="pres">
      <dgm:prSet presAssocID="{F0D17C94-17FA-48B3-A2BC-C50D6F78517D}" presName="node" presStyleLbl="node1" presStyleIdx="3" presStyleCnt="6">
        <dgm:presLayoutVars>
          <dgm:bulletEnabled val="1"/>
        </dgm:presLayoutVars>
      </dgm:prSet>
      <dgm:spPr/>
    </dgm:pt>
    <dgm:pt modelId="{583958AB-6DEF-474D-8AC6-6978BBBD8BCA}" type="pres">
      <dgm:prSet presAssocID="{BD1F8FE4-9959-4DDD-8B9E-D7A4FA94A9A3}" presName="sibTrans" presStyleCnt="0"/>
      <dgm:spPr/>
    </dgm:pt>
    <dgm:pt modelId="{A3471E58-14CE-49C1-A511-BACE32CC54A0}" type="pres">
      <dgm:prSet presAssocID="{8851134D-611F-4210-9AFD-0C9B389802B1}" presName="node" presStyleLbl="node1" presStyleIdx="4" presStyleCnt="6">
        <dgm:presLayoutVars>
          <dgm:bulletEnabled val="1"/>
        </dgm:presLayoutVars>
      </dgm:prSet>
      <dgm:spPr/>
    </dgm:pt>
    <dgm:pt modelId="{D8A283B0-06B9-4716-B637-10B89E707A66}" type="pres">
      <dgm:prSet presAssocID="{0028F639-C691-4404-99E5-B992C319D176}" presName="sibTrans" presStyleCnt="0"/>
      <dgm:spPr/>
    </dgm:pt>
    <dgm:pt modelId="{3E543BF9-487F-47BC-B462-0B619D905C09}" type="pres">
      <dgm:prSet presAssocID="{F6A798F3-6473-4CC1-8049-164B462E3A74}" presName="node" presStyleLbl="node1" presStyleIdx="5" presStyleCnt="6">
        <dgm:presLayoutVars>
          <dgm:bulletEnabled val="1"/>
        </dgm:presLayoutVars>
      </dgm:prSet>
      <dgm:spPr/>
    </dgm:pt>
  </dgm:ptLst>
  <dgm:cxnLst>
    <dgm:cxn modelId="{2D200915-A4DF-4C40-B7A6-983E3A67C8B7}" type="presOf" srcId="{AE021F7F-DB70-46D7-8C6D-F71565D8E589}" destId="{B4CFE7B5-E3FF-41F0-B4E3-92AD1D7C4DE1}" srcOrd="0" destOrd="0" presId="urn:microsoft.com/office/officeart/2005/8/layout/default#1"/>
    <dgm:cxn modelId="{B92BE415-7639-4812-84C5-470A7FB3A735}" srcId="{0150F95C-94CF-4025-B208-985B7D85A97F}" destId="{F6A798F3-6473-4CC1-8049-164B462E3A74}" srcOrd="5" destOrd="0" parTransId="{BAA615EC-A25A-4543-B882-23B390BAD89F}" sibTransId="{83883DFD-5D33-421B-9F40-9D2427ACD297}"/>
    <dgm:cxn modelId="{762DA01B-019B-4E2A-9333-D5AAF1ECF41D}" srcId="{0150F95C-94CF-4025-B208-985B7D85A97F}" destId="{8851134D-611F-4210-9AFD-0C9B389802B1}" srcOrd="4" destOrd="0" parTransId="{45A17BCF-3F7A-430C-80A6-51A753D56DDE}" sibTransId="{0028F639-C691-4404-99E5-B992C319D176}"/>
    <dgm:cxn modelId="{1AA8081C-71ED-446A-966A-3D426ADB2B19}" srcId="{0150F95C-94CF-4025-B208-985B7D85A97F}" destId="{AE021F7F-DB70-46D7-8C6D-F71565D8E589}" srcOrd="2" destOrd="0" parTransId="{690FED9C-807C-43E0-A076-7C3132903078}" sibTransId="{83ACCA76-95AE-4299-9C98-FFBE10FC4E8F}"/>
    <dgm:cxn modelId="{84361B56-7A54-48AF-95AC-B2CA3D612A1A}" type="presOf" srcId="{F0D17C94-17FA-48B3-A2BC-C50D6F78517D}" destId="{67000E23-F41F-4962-A920-C1741DBD80BE}" srcOrd="0" destOrd="0" presId="urn:microsoft.com/office/officeart/2005/8/layout/default#1"/>
    <dgm:cxn modelId="{87E24B84-CF0B-4416-9FB6-CCA7CEDAA699}" srcId="{0150F95C-94CF-4025-B208-985B7D85A97F}" destId="{7C590DFA-19F1-4269-B7AB-02EFE37E0FCB}" srcOrd="1" destOrd="0" parTransId="{9CB30575-B2DC-40FC-A504-78C0BCF8023C}" sibTransId="{8F829A04-F494-4AA7-93B6-FDF195E2B986}"/>
    <dgm:cxn modelId="{E9F4A8A3-2275-46CD-86A4-9E41BB4970D1}" type="presOf" srcId="{7C590DFA-19F1-4269-B7AB-02EFE37E0FCB}" destId="{0724E453-1C1E-4307-BD57-2785A68A54B2}" srcOrd="0" destOrd="0" presId="urn:microsoft.com/office/officeart/2005/8/layout/default#1"/>
    <dgm:cxn modelId="{0B322BA5-3148-499D-B324-9C515DFB35B2}" type="presOf" srcId="{0150F95C-94CF-4025-B208-985B7D85A97F}" destId="{12DA2512-EC95-4DCF-9AF8-3C9F7F0EBA6F}" srcOrd="0" destOrd="0" presId="urn:microsoft.com/office/officeart/2005/8/layout/default#1"/>
    <dgm:cxn modelId="{D5FF80AE-97D8-48BD-BCB0-F63DEBE16627}" srcId="{0150F95C-94CF-4025-B208-985B7D85A97F}" destId="{E73FF68F-B584-4E61-BEB8-4241DDD43150}" srcOrd="0" destOrd="0" parTransId="{9F29AF29-7B9B-4158-BCF4-96C1CE70B3AB}" sibTransId="{2A14498F-CEE6-4E8E-96F2-9A87C4C58726}"/>
    <dgm:cxn modelId="{FBB826D3-4DFF-4AF3-A78F-0DDFCB7C962D}" type="presOf" srcId="{8851134D-611F-4210-9AFD-0C9B389802B1}" destId="{A3471E58-14CE-49C1-A511-BACE32CC54A0}" srcOrd="0" destOrd="0" presId="urn:microsoft.com/office/officeart/2005/8/layout/default#1"/>
    <dgm:cxn modelId="{3BD66DE5-A2EE-4A99-AF16-21B8D84A3711}" type="presOf" srcId="{E73FF68F-B584-4E61-BEB8-4241DDD43150}" destId="{B6D91367-B4BF-4751-9C83-6EC5B72361E2}" srcOrd="0" destOrd="0" presId="urn:microsoft.com/office/officeart/2005/8/layout/default#1"/>
    <dgm:cxn modelId="{C1D4F2E9-9E2A-4C18-B506-326993245780}" srcId="{0150F95C-94CF-4025-B208-985B7D85A97F}" destId="{F0D17C94-17FA-48B3-A2BC-C50D6F78517D}" srcOrd="3" destOrd="0" parTransId="{CCA7EA99-EF99-4860-BB4F-C497A45D7122}" sibTransId="{BD1F8FE4-9959-4DDD-8B9E-D7A4FA94A9A3}"/>
    <dgm:cxn modelId="{C0C955F1-5CF2-4257-8067-7779F72F5A6B}" type="presOf" srcId="{F6A798F3-6473-4CC1-8049-164B462E3A74}" destId="{3E543BF9-487F-47BC-B462-0B619D905C09}" srcOrd="0" destOrd="0" presId="urn:microsoft.com/office/officeart/2005/8/layout/default#1"/>
    <dgm:cxn modelId="{1737555D-C3B4-4834-81AE-352094DCAB29}" type="presParOf" srcId="{12DA2512-EC95-4DCF-9AF8-3C9F7F0EBA6F}" destId="{B6D91367-B4BF-4751-9C83-6EC5B72361E2}" srcOrd="0" destOrd="0" presId="urn:microsoft.com/office/officeart/2005/8/layout/default#1"/>
    <dgm:cxn modelId="{940EFB96-D9B6-4E2C-B2ED-7950E8136FF7}" type="presParOf" srcId="{12DA2512-EC95-4DCF-9AF8-3C9F7F0EBA6F}" destId="{21003713-39E4-410E-A33C-E92121EDD9D4}" srcOrd="1" destOrd="0" presId="urn:microsoft.com/office/officeart/2005/8/layout/default#1"/>
    <dgm:cxn modelId="{635401FD-2A59-4426-8AB3-3AAF9B36788A}" type="presParOf" srcId="{12DA2512-EC95-4DCF-9AF8-3C9F7F0EBA6F}" destId="{0724E453-1C1E-4307-BD57-2785A68A54B2}" srcOrd="2" destOrd="0" presId="urn:microsoft.com/office/officeart/2005/8/layout/default#1"/>
    <dgm:cxn modelId="{5F5D3D11-EE23-4FF9-99FE-9988CD04734E}" type="presParOf" srcId="{12DA2512-EC95-4DCF-9AF8-3C9F7F0EBA6F}" destId="{B705A260-F6CC-4C0D-92BA-2BE8360BB627}" srcOrd="3" destOrd="0" presId="urn:microsoft.com/office/officeart/2005/8/layout/default#1"/>
    <dgm:cxn modelId="{5E72D20C-4501-4AA3-94FE-39C0C2A3231D}" type="presParOf" srcId="{12DA2512-EC95-4DCF-9AF8-3C9F7F0EBA6F}" destId="{B4CFE7B5-E3FF-41F0-B4E3-92AD1D7C4DE1}" srcOrd="4" destOrd="0" presId="urn:microsoft.com/office/officeart/2005/8/layout/default#1"/>
    <dgm:cxn modelId="{8C8A1B98-1A45-4406-B165-706D668FA73D}" type="presParOf" srcId="{12DA2512-EC95-4DCF-9AF8-3C9F7F0EBA6F}" destId="{EF3C89EF-7DE6-4982-857A-A157CA430008}" srcOrd="5" destOrd="0" presId="urn:microsoft.com/office/officeart/2005/8/layout/default#1"/>
    <dgm:cxn modelId="{66013B69-E943-4E66-87FE-131B99D1A79B}" type="presParOf" srcId="{12DA2512-EC95-4DCF-9AF8-3C9F7F0EBA6F}" destId="{67000E23-F41F-4962-A920-C1741DBD80BE}" srcOrd="6" destOrd="0" presId="urn:microsoft.com/office/officeart/2005/8/layout/default#1"/>
    <dgm:cxn modelId="{C6E41189-AE5B-4CFC-A43E-365DE0617F01}" type="presParOf" srcId="{12DA2512-EC95-4DCF-9AF8-3C9F7F0EBA6F}" destId="{583958AB-6DEF-474D-8AC6-6978BBBD8BCA}" srcOrd="7" destOrd="0" presId="urn:microsoft.com/office/officeart/2005/8/layout/default#1"/>
    <dgm:cxn modelId="{F93B840C-2D52-4DAF-8B2E-AA9590046B40}" type="presParOf" srcId="{12DA2512-EC95-4DCF-9AF8-3C9F7F0EBA6F}" destId="{A3471E58-14CE-49C1-A511-BACE32CC54A0}" srcOrd="8" destOrd="0" presId="urn:microsoft.com/office/officeart/2005/8/layout/default#1"/>
    <dgm:cxn modelId="{DADBD9E2-A87D-4F45-A1CB-EBD7F01F54E8}" type="presParOf" srcId="{12DA2512-EC95-4DCF-9AF8-3C9F7F0EBA6F}" destId="{D8A283B0-06B9-4716-B637-10B89E707A66}" srcOrd="9" destOrd="0" presId="urn:microsoft.com/office/officeart/2005/8/layout/default#1"/>
    <dgm:cxn modelId="{31B7002C-20BC-493E-9FCF-26F53AFE13E2}" type="presParOf" srcId="{12DA2512-EC95-4DCF-9AF8-3C9F7F0EBA6F}" destId="{3E543BF9-487F-47BC-B462-0B619D905C09}" srcOrd="10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121D847F-9774-E941-91C1-D228FAFF0D26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79D5C37F-DFD1-A548-9B9B-3B427693C240}">
      <dgm:prSet phldrT="[Text]"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ất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6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ơ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n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n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áp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ứng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ể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ảm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o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iển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(an </a:t>
          </a:r>
          <a:r>
            <a:rPr lang="en-GB" sz="28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inh</a:t>
          </a:r>
          <a:r>
            <a:rPr lang="en-GB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)</a:t>
          </a:r>
        </a:p>
      </dgm:t>
    </dgm:pt>
    <dgm:pt modelId="{9F322E89-EDA6-0F4D-9549-CE406E298464}" type="parTrans" cxnId="{52C7726F-3363-9F45-98D9-3D7908183C06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8EDBF04D-8A1F-BD41-8DC1-C4D1C570A971}" type="sibTrans" cxnId="{52C7726F-3363-9F45-98D9-3D7908183C06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6347BB30-3626-EB4B-BD75-F1F1AB42CC83}" type="asst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6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ọ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iể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á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ể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á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ị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e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ù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gm:t>
    </dgm:pt>
    <dgm:pt modelId="{0EF29DF4-B22B-994D-800C-9BBB3515DF49}" type="parTrans" cxnId="{294940D7-C3DD-464A-B35F-182C002D07C1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5BCB3B24-08D7-7545-880A-0B1F06CC7527}" type="sibTrans" cxnId="{294940D7-C3DD-464A-B35F-182C002D07C1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FAAF1D57-C2A2-F34C-882C-A22D1C108F00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ố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iê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ệ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ự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áp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ứ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ố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an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i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-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ặ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iệ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iể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ươ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ai</a:t>
          </a:r>
          <a:endParaRPr lang="en-GB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5EF9DEE4-530B-324F-BAD2-0FC0F4AA8A8E}" type="parTrans" cxnId="{0A619E53-F8CD-B44C-B2A8-9E33190C81ED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C6EE0869-89BC-7B44-919E-6FE28935171A}" type="sibTrans" cxnId="{0A619E53-F8CD-B44C-B2A8-9E33190C81ED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E8620007-8F26-454E-91EB-5800A1E195B9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áp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ứ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ù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1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ẽ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ặp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ả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iề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uy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ơ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ổ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iể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gm:t>
    </dgm:pt>
    <dgm:pt modelId="{5D4BB226-238B-2147-8032-7CAF96789080}" type="parTrans" cxnId="{3FACA8C1-9C49-374F-AEA9-9A9051B44535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6ECE99B0-9FEE-5445-BF9E-F19C5D6CE73E}" type="sibTrans" cxnId="{3FACA8C1-9C49-374F-AEA9-9A9051B44535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F22D96C8-6565-974D-9EE3-251C0FD6E0AA}">
      <dgm:prSet phldrT="[Text]" custT="1"/>
      <dgm:spPr>
        <a:solidFill>
          <a:schemeClr val="bg1"/>
        </a:solidFill>
      </dgm:spPr>
      <dgm:t>
        <a:bodyPr/>
        <a:lstStyle/>
        <a:p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6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(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1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ố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)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ọng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âm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ịc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ụ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BVTE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uyê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hiệp</a:t>
          </a:r>
          <a:endParaRPr lang="en-GB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n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án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</a:t>
          </a:r>
          <a:endParaRPr lang="en-GB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ập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ế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oạch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ỗ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ợ</a:t>
          </a:r>
          <a:endParaRPr lang="en-GB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à</a:t>
          </a:r>
          <a:r>
            <a:rPr lang="en-GB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oát</a:t>
          </a:r>
          <a:endParaRPr lang="en-GB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90BDF34E-247D-424D-B6AF-AFBC9A511F5A}" type="parTrans" cxnId="{142A5A58-2DEE-D54B-BA0B-AE4701379A5B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63F46A9B-7C34-3649-B8E6-6E0B8FAAFECC}" type="sibTrans" cxnId="{142A5A58-2DEE-D54B-BA0B-AE4701379A5B}">
      <dgm:prSet/>
      <dgm:spPr/>
      <dgm:t>
        <a:bodyPr/>
        <a:lstStyle/>
        <a:p>
          <a:endParaRPr lang="en-GB" sz="2400">
            <a:solidFill>
              <a:schemeClr val="tx1"/>
            </a:solidFill>
          </a:endParaRPr>
        </a:p>
      </dgm:t>
    </dgm:pt>
    <dgm:pt modelId="{543BF4BC-5C39-5748-A910-12473CF6CB37}" type="pres">
      <dgm:prSet presAssocID="{121D847F-9774-E941-91C1-D228FAFF0D26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85E9FAB9-621C-EA4B-A44F-1FC159EEDAE4}" type="pres">
      <dgm:prSet presAssocID="{79D5C37F-DFD1-A548-9B9B-3B427693C240}" presName="hierRoot1" presStyleCnt="0">
        <dgm:presLayoutVars>
          <dgm:hierBranch val="init"/>
        </dgm:presLayoutVars>
      </dgm:prSet>
      <dgm:spPr/>
    </dgm:pt>
    <dgm:pt modelId="{F7D78641-8415-4949-8016-DD93918B55DC}" type="pres">
      <dgm:prSet presAssocID="{79D5C37F-DFD1-A548-9B9B-3B427693C240}" presName="rootComposite1" presStyleCnt="0"/>
      <dgm:spPr/>
    </dgm:pt>
    <dgm:pt modelId="{78048749-DF89-3F4F-8516-0D397626064D}" type="pres">
      <dgm:prSet presAssocID="{79D5C37F-DFD1-A548-9B9B-3B427693C240}" presName="rootText1" presStyleLbl="node0" presStyleIdx="0" presStyleCnt="1" custScaleX="320256" custScaleY="70234">
        <dgm:presLayoutVars>
          <dgm:chPref val="3"/>
        </dgm:presLayoutVars>
      </dgm:prSet>
      <dgm:spPr/>
    </dgm:pt>
    <dgm:pt modelId="{33A67A69-1449-3745-9C65-DC68EBC21C14}" type="pres">
      <dgm:prSet presAssocID="{79D5C37F-DFD1-A548-9B9B-3B427693C240}" presName="rootConnector1" presStyleLbl="node1" presStyleIdx="0" presStyleCnt="0"/>
      <dgm:spPr/>
    </dgm:pt>
    <dgm:pt modelId="{87EDC791-11C0-3743-BDFE-D3B4B346027A}" type="pres">
      <dgm:prSet presAssocID="{79D5C37F-DFD1-A548-9B9B-3B427693C240}" presName="hierChild2" presStyleCnt="0"/>
      <dgm:spPr/>
    </dgm:pt>
    <dgm:pt modelId="{7D191177-C9EA-FF41-9594-32BC9601DCFB}" type="pres">
      <dgm:prSet presAssocID="{5EF9DEE4-530B-324F-BAD2-0FC0F4AA8A8E}" presName="Name37" presStyleLbl="parChTrans1D2" presStyleIdx="0" presStyleCnt="4"/>
      <dgm:spPr/>
    </dgm:pt>
    <dgm:pt modelId="{4B4E6187-B42C-2F4D-8551-EEEB2A90B5C6}" type="pres">
      <dgm:prSet presAssocID="{FAAF1D57-C2A2-F34C-882C-A22D1C108F00}" presName="hierRoot2" presStyleCnt="0">
        <dgm:presLayoutVars>
          <dgm:hierBranch val="init"/>
        </dgm:presLayoutVars>
      </dgm:prSet>
      <dgm:spPr/>
    </dgm:pt>
    <dgm:pt modelId="{C3427AD9-DF3F-074C-8899-CD8E30BF6A9C}" type="pres">
      <dgm:prSet presAssocID="{FAAF1D57-C2A2-F34C-882C-A22D1C108F00}" presName="rootComposite" presStyleCnt="0"/>
      <dgm:spPr/>
    </dgm:pt>
    <dgm:pt modelId="{BD4D5285-33B2-2A47-B621-497A22E62051}" type="pres">
      <dgm:prSet presAssocID="{FAAF1D57-C2A2-F34C-882C-A22D1C108F00}" presName="rootText" presStyleLbl="node2" presStyleIdx="0" presStyleCnt="3" custScaleX="118794" custScaleY="196933">
        <dgm:presLayoutVars>
          <dgm:chPref val="3"/>
        </dgm:presLayoutVars>
      </dgm:prSet>
      <dgm:spPr/>
    </dgm:pt>
    <dgm:pt modelId="{749A7C20-0F48-EF43-93DC-427816CB8591}" type="pres">
      <dgm:prSet presAssocID="{FAAF1D57-C2A2-F34C-882C-A22D1C108F00}" presName="rootConnector" presStyleLbl="node2" presStyleIdx="0" presStyleCnt="3"/>
      <dgm:spPr/>
    </dgm:pt>
    <dgm:pt modelId="{D5A4019C-5954-C049-9848-CF8E2FA4F36F}" type="pres">
      <dgm:prSet presAssocID="{FAAF1D57-C2A2-F34C-882C-A22D1C108F00}" presName="hierChild4" presStyleCnt="0"/>
      <dgm:spPr/>
    </dgm:pt>
    <dgm:pt modelId="{C7E6490A-93AE-AB4A-94E2-702EAF6145F5}" type="pres">
      <dgm:prSet presAssocID="{FAAF1D57-C2A2-F34C-882C-A22D1C108F00}" presName="hierChild5" presStyleCnt="0"/>
      <dgm:spPr/>
    </dgm:pt>
    <dgm:pt modelId="{BC64E9AA-6B5F-8942-B172-C0854D235754}" type="pres">
      <dgm:prSet presAssocID="{5D4BB226-238B-2147-8032-7CAF96789080}" presName="Name37" presStyleLbl="parChTrans1D2" presStyleIdx="1" presStyleCnt="4"/>
      <dgm:spPr/>
    </dgm:pt>
    <dgm:pt modelId="{572E99CF-3F05-7D42-818F-75AF8822D478}" type="pres">
      <dgm:prSet presAssocID="{E8620007-8F26-454E-91EB-5800A1E195B9}" presName="hierRoot2" presStyleCnt="0">
        <dgm:presLayoutVars>
          <dgm:hierBranch val="init"/>
        </dgm:presLayoutVars>
      </dgm:prSet>
      <dgm:spPr/>
    </dgm:pt>
    <dgm:pt modelId="{47B3E555-BC93-0649-A92D-813EC32D91DB}" type="pres">
      <dgm:prSet presAssocID="{E8620007-8F26-454E-91EB-5800A1E195B9}" presName="rootComposite" presStyleCnt="0"/>
      <dgm:spPr/>
    </dgm:pt>
    <dgm:pt modelId="{E5BB6962-51A3-BC4F-A4F4-47C20CBB48DC}" type="pres">
      <dgm:prSet presAssocID="{E8620007-8F26-454E-91EB-5800A1E195B9}" presName="rootText" presStyleLbl="node2" presStyleIdx="1" presStyleCnt="3" custScaleX="123070" custScaleY="181476">
        <dgm:presLayoutVars>
          <dgm:chPref val="3"/>
        </dgm:presLayoutVars>
      </dgm:prSet>
      <dgm:spPr/>
    </dgm:pt>
    <dgm:pt modelId="{C8C96CBE-E48B-4248-BE67-7455D5ED3E3B}" type="pres">
      <dgm:prSet presAssocID="{E8620007-8F26-454E-91EB-5800A1E195B9}" presName="rootConnector" presStyleLbl="node2" presStyleIdx="1" presStyleCnt="3"/>
      <dgm:spPr/>
    </dgm:pt>
    <dgm:pt modelId="{3B26B72C-8545-7A48-8F1C-C800FCC9E21C}" type="pres">
      <dgm:prSet presAssocID="{E8620007-8F26-454E-91EB-5800A1E195B9}" presName="hierChild4" presStyleCnt="0"/>
      <dgm:spPr/>
    </dgm:pt>
    <dgm:pt modelId="{9BB8C818-D98F-7940-90F3-10D24EE79319}" type="pres">
      <dgm:prSet presAssocID="{E8620007-8F26-454E-91EB-5800A1E195B9}" presName="hierChild5" presStyleCnt="0"/>
      <dgm:spPr/>
    </dgm:pt>
    <dgm:pt modelId="{D78CC972-4FEE-1946-AC7A-F0AAF26B335D}" type="pres">
      <dgm:prSet presAssocID="{90BDF34E-247D-424D-B6AF-AFBC9A511F5A}" presName="Name37" presStyleLbl="parChTrans1D2" presStyleIdx="2" presStyleCnt="4"/>
      <dgm:spPr/>
    </dgm:pt>
    <dgm:pt modelId="{15E35DC2-03D0-944C-93C5-EEBE9B4C7A0F}" type="pres">
      <dgm:prSet presAssocID="{F22D96C8-6565-974D-9EE3-251C0FD6E0AA}" presName="hierRoot2" presStyleCnt="0">
        <dgm:presLayoutVars>
          <dgm:hierBranch val="init"/>
        </dgm:presLayoutVars>
      </dgm:prSet>
      <dgm:spPr/>
    </dgm:pt>
    <dgm:pt modelId="{233E7290-840B-BD4A-A4A8-3F9DF07CE32F}" type="pres">
      <dgm:prSet presAssocID="{F22D96C8-6565-974D-9EE3-251C0FD6E0AA}" presName="rootComposite" presStyleCnt="0"/>
      <dgm:spPr/>
    </dgm:pt>
    <dgm:pt modelId="{9BEE256E-382A-994B-AE66-F0AA37293150}" type="pres">
      <dgm:prSet presAssocID="{F22D96C8-6565-974D-9EE3-251C0FD6E0AA}" presName="rootText" presStyleLbl="node2" presStyleIdx="2" presStyleCnt="3" custScaleX="162963" custScaleY="177489">
        <dgm:presLayoutVars>
          <dgm:chPref val="3"/>
        </dgm:presLayoutVars>
      </dgm:prSet>
      <dgm:spPr/>
    </dgm:pt>
    <dgm:pt modelId="{4D9B97FD-0DDF-DE47-AFAA-2E25F9CBEAA5}" type="pres">
      <dgm:prSet presAssocID="{F22D96C8-6565-974D-9EE3-251C0FD6E0AA}" presName="rootConnector" presStyleLbl="node2" presStyleIdx="2" presStyleCnt="3"/>
      <dgm:spPr/>
    </dgm:pt>
    <dgm:pt modelId="{8C1AA5D1-E2DB-1644-8539-C7DBB87ED53F}" type="pres">
      <dgm:prSet presAssocID="{F22D96C8-6565-974D-9EE3-251C0FD6E0AA}" presName="hierChild4" presStyleCnt="0"/>
      <dgm:spPr/>
    </dgm:pt>
    <dgm:pt modelId="{F693E47C-6BE6-5B44-A805-3B2F15952C7A}" type="pres">
      <dgm:prSet presAssocID="{F22D96C8-6565-974D-9EE3-251C0FD6E0AA}" presName="hierChild5" presStyleCnt="0"/>
      <dgm:spPr/>
    </dgm:pt>
    <dgm:pt modelId="{198EE66B-35F3-7240-9E5E-1DF9AA476B0C}" type="pres">
      <dgm:prSet presAssocID="{79D5C37F-DFD1-A548-9B9B-3B427693C240}" presName="hierChild3" presStyleCnt="0"/>
      <dgm:spPr/>
    </dgm:pt>
    <dgm:pt modelId="{AEE81860-79B3-DD49-BAE7-611C0E199D71}" type="pres">
      <dgm:prSet presAssocID="{0EF29DF4-B22B-994D-800C-9BBB3515DF49}" presName="Name111" presStyleLbl="parChTrans1D2" presStyleIdx="3" presStyleCnt="4"/>
      <dgm:spPr/>
    </dgm:pt>
    <dgm:pt modelId="{45FBDF4E-2304-7548-ADA1-622AC45EBB6B}" type="pres">
      <dgm:prSet presAssocID="{6347BB30-3626-EB4B-BD75-F1F1AB42CC83}" presName="hierRoot3" presStyleCnt="0">
        <dgm:presLayoutVars>
          <dgm:hierBranch val="init"/>
        </dgm:presLayoutVars>
      </dgm:prSet>
      <dgm:spPr/>
    </dgm:pt>
    <dgm:pt modelId="{4A4AEE9C-58ED-AD49-BB23-A87C240CC592}" type="pres">
      <dgm:prSet presAssocID="{6347BB30-3626-EB4B-BD75-F1F1AB42CC83}" presName="rootComposite3" presStyleCnt="0"/>
      <dgm:spPr/>
    </dgm:pt>
    <dgm:pt modelId="{5940E1C6-5FE1-7940-9A76-81BD39F523C6}" type="pres">
      <dgm:prSet presAssocID="{6347BB30-3626-EB4B-BD75-F1F1AB42CC83}" presName="rootText3" presStyleLbl="asst1" presStyleIdx="0" presStyleCnt="1" custScaleX="181312">
        <dgm:presLayoutVars>
          <dgm:chPref val="3"/>
        </dgm:presLayoutVars>
      </dgm:prSet>
      <dgm:spPr/>
    </dgm:pt>
    <dgm:pt modelId="{0DF7D390-C1FA-1D45-88A8-ECEDE15485F4}" type="pres">
      <dgm:prSet presAssocID="{6347BB30-3626-EB4B-BD75-F1F1AB42CC83}" presName="rootConnector3" presStyleLbl="asst1" presStyleIdx="0" presStyleCnt="1"/>
      <dgm:spPr/>
    </dgm:pt>
    <dgm:pt modelId="{B3C11774-8202-A742-911E-F87FBDD8D4D3}" type="pres">
      <dgm:prSet presAssocID="{6347BB30-3626-EB4B-BD75-F1F1AB42CC83}" presName="hierChild6" presStyleCnt="0"/>
      <dgm:spPr/>
    </dgm:pt>
    <dgm:pt modelId="{5FEFB34C-F641-C646-80CD-FBFC3CB9D2E3}" type="pres">
      <dgm:prSet presAssocID="{6347BB30-3626-EB4B-BD75-F1F1AB42CC83}" presName="hierChild7" presStyleCnt="0"/>
      <dgm:spPr/>
    </dgm:pt>
  </dgm:ptLst>
  <dgm:cxnLst>
    <dgm:cxn modelId="{17BAFE0B-CFED-D641-8939-E49C5645CD7C}" type="presOf" srcId="{E8620007-8F26-454E-91EB-5800A1E195B9}" destId="{E5BB6962-51A3-BC4F-A4F4-47C20CBB48DC}" srcOrd="0" destOrd="0" presId="urn:microsoft.com/office/officeart/2005/8/layout/orgChart1"/>
    <dgm:cxn modelId="{2E0B740C-1B5D-7140-8741-F915A7100FAC}" type="presOf" srcId="{79D5C37F-DFD1-A548-9B9B-3B427693C240}" destId="{78048749-DF89-3F4F-8516-0D397626064D}" srcOrd="0" destOrd="0" presId="urn:microsoft.com/office/officeart/2005/8/layout/orgChart1"/>
    <dgm:cxn modelId="{A9152C22-265A-4246-8EE5-E44C99ED55CD}" type="presOf" srcId="{E8620007-8F26-454E-91EB-5800A1E195B9}" destId="{C8C96CBE-E48B-4248-BE67-7455D5ED3E3B}" srcOrd="1" destOrd="0" presId="urn:microsoft.com/office/officeart/2005/8/layout/orgChart1"/>
    <dgm:cxn modelId="{EE078523-E1A1-7549-B3C1-191244E6308F}" type="presOf" srcId="{0EF29DF4-B22B-994D-800C-9BBB3515DF49}" destId="{AEE81860-79B3-DD49-BAE7-611C0E199D71}" srcOrd="0" destOrd="0" presId="urn:microsoft.com/office/officeart/2005/8/layout/orgChart1"/>
    <dgm:cxn modelId="{54AB6327-DB03-8340-945B-6332FC571DEE}" type="presOf" srcId="{5D4BB226-238B-2147-8032-7CAF96789080}" destId="{BC64E9AA-6B5F-8942-B172-C0854D235754}" srcOrd="0" destOrd="0" presId="urn:microsoft.com/office/officeart/2005/8/layout/orgChart1"/>
    <dgm:cxn modelId="{01F1FE2A-1F78-D246-951A-AE8FB4A946AA}" type="presOf" srcId="{FAAF1D57-C2A2-F34C-882C-A22D1C108F00}" destId="{BD4D5285-33B2-2A47-B621-497A22E62051}" srcOrd="0" destOrd="0" presId="urn:microsoft.com/office/officeart/2005/8/layout/orgChart1"/>
    <dgm:cxn modelId="{AA5F5242-81AD-B347-8571-E55DA4AA0725}" type="presOf" srcId="{F22D96C8-6565-974D-9EE3-251C0FD6E0AA}" destId="{4D9B97FD-0DDF-DE47-AFAA-2E25F9CBEAA5}" srcOrd="1" destOrd="0" presId="urn:microsoft.com/office/officeart/2005/8/layout/orgChart1"/>
    <dgm:cxn modelId="{19603F67-7974-B945-A8B2-08DBE443DAC5}" type="presOf" srcId="{6347BB30-3626-EB4B-BD75-F1F1AB42CC83}" destId="{0DF7D390-C1FA-1D45-88A8-ECEDE15485F4}" srcOrd="1" destOrd="0" presId="urn:microsoft.com/office/officeart/2005/8/layout/orgChart1"/>
    <dgm:cxn modelId="{8C85986C-70ED-7B4D-ADA1-2FBABE5B7F94}" type="presOf" srcId="{6347BB30-3626-EB4B-BD75-F1F1AB42CC83}" destId="{5940E1C6-5FE1-7940-9A76-81BD39F523C6}" srcOrd="0" destOrd="0" presId="urn:microsoft.com/office/officeart/2005/8/layout/orgChart1"/>
    <dgm:cxn modelId="{52C7726F-3363-9F45-98D9-3D7908183C06}" srcId="{121D847F-9774-E941-91C1-D228FAFF0D26}" destId="{79D5C37F-DFD1-A548-9B9B-3B427693C240}" srcOrd="0" destOrd="0" parTransId="{9F322E89-EDA6-0F4D-9549-CE406E298464}" sibTransId="{8EDBF04D-8A1F-BD41-8DC1-C4D1C570A971}"/>
    <dgm:cxn modelId="{546AA84F-DD00-AB48-AC8B-2AE8DBC13450}" type="presOf" srcId="{90BDF34E-247D-424D-B6AF-AFBC9A511F5A}" destId="{D78CC972-4FEE-1946-AC7A-F0AAF26B335D}" srcOrd="0" destOrd="0" presId="urn:microsoft.com/office/officeart/2005/8/layout/orgChart1"/>
    <dgm:cxn modelId="{0A619E53-F8CD-B44C-B2A8-9E33190C81ED}" srcId="{79D5C37F-DFD1-A548-9B9B-3B427693C240}" destId="{FAAF1D57-C2A2-F34C-882C-A22D1C108F00}" srcOrd="1" destOrd="0" parTransId="{5EF9DEE4-530B-324F-BAD2-0FC0F4AA8A8E}" sibTransId="{C6EE0869-89BC-7B44-919E-6FE28935171A}"/>
    <dgm:cxn modelId="{142A5A58-2DEE-D54B-BA0B-AE4701379A5B}" srcId="{79D5C37F-DFD1-A548-9B9B-3B427693C240}" destId="{F22D96C8-6565-974D-9EE3-251C0FD6E0AA}" srcOrd="3" destOrd="0" parTransId="{90BDF34E-247D-424D-B6AF-AFBC9A511F5A}" sibTransId="{63F46A9B-7C34-3649-B8E6-6E0B8FAAFECC}"/>
    <dgm:cxn modelId="{D1961E8F-5A09-FF43-A8C0-25FFB8EF7944}" type="presOf" srcId="{F22D96C8-6565-974D-9EE3-251C0FD6E0AA}" destId="{9BEE256E-382A-994B-AE66-F0AA37293150}" srcOrd="0" destOrd="0" presId="urn:microsoft.com/office/officeart/2005/8/layout/orgChart1"/>
    <dgm:cxn modelId="{775C4A98-137B-CE42-B20A-4B21FF17B43D}" type="presOf" srcId="{5EF9DEE4-530B-324F-BAD2-0FC0F4AA8A8E}" destId="{7D191177-C9EA-FF41-9594-32BC9601DCFB}" srcOrd="0" destOrd="0" presId="urn:microsoft.com/office/officeart/2005/8/layout/orgChart1"/>
    <dgm:cxn modelId="{A198EDA4-1F87-0647-965F-9F71A9C415AB}" type="presOf" srcId="{121D847F-9774-E941-91C1-D228FAFF0D26}" destId="{543BF4BC-5C39-5748-A910-12473CF6CB37}" srcOrd="0" destOrd="0" presId="urn:microsoft.com/office/officeart/2005/8/layout/orgChart1"/>
    <dgm:cxn modelId="{3FACA8C1-9C49-374F-AEA9-9A9051B44535}" srcId="{79D5C37F-DFD1-A548-9B9B-3B427693C240}" destId="{E8620007-8F26-454E-91EB-5800A1E195B9}" srcOrd="2" destOrd="0" parTransId="{5D4BB226-238B-2147-8032-7CAF96789080}" sibTransId="{6ECE99B0-9FEE-5445-BF9E-F19C5D6CE73E}"/>
    <dgm:cxn modelId="{E905D6D5-DFD7-7343-BB54-948FD92C8439}" type="presOf" srcId="{FAAF1D57-C2A2-F34C-882C-A22D1C108F00}" destId="{749A7C20-0F48-EF43-93DC-427816CB8591}" srcOrd="1" destOrd="0" presId="urn:microsoft.com/office/officeart/2005/8/layout/orgChart1"/>
    <dgm:cxn modelId="{294940D7-C3DD-464A-B35F-182C002D07C1}" srcId="{79D5C37F-DFD1-A548-9B9B-3B427693C240}" destId="{6347BB30-3626-EB4B-BD75-F1F1AB42CC83}" srcOrd="0" destOrd="0" parTransId="{0EF29DF4-B22B-994D-800C-9BBB3515DF49}" sibTransId="{5BCB3B24-08D7-7545-880A-0B1F06CC7527}"/>
    <dgm:cxn modelId="{B9326BF2-712A-4141-A876-1722D4D11D2B}" type="presOf" srcId="{79D5C37F-DFD1-A548-9B9B-3B427693C240}" destId="{33A67A69-1449-3745-9C65-DC68EBC21C14}" srcOrd="1" destOrd="0" presId="urn:microsoft.com/office/officeart/2005/8/layout/orgChart1"/>
    <dgm:cxn modelId="{07589CAE-90E5-EE47-A8FB-8D3D6F9F35A8}" type="presParOf" srcId="{543BF4BC-5C39-5748-A910-12473CF6CB37}" destId="{85E9FAB9-621C-EA4B-A44F-1FC159EEDAE4}" srcOrd="0" destOrd="0" presId="urn:microsoft.com/office/officeart/2005/8/layout/orgChart1"/>
    <dgm:cxn modelId="{0390C68B-7A98-8440-A4FA-5EB2A349D11D}" type="presParOf" srcId="{85E9FAB9-621C-EA4B-A44F-1FC159EEDAE4}" destId="{F7D78641-8415-4949-8016-DD93918B55DC}" srcOrd="0" destOrd="0" presId="urn:microsoft.com/office/officeart/2005/8/layout/orgChart1"/>
    <dgm:cxn modelId="{117613CD-BAF3-8448-877A-62401074C9E5}" type="presParOf" srcId="{F7D78641-8415-4949-8016-DD93918B55DC}" destId="{78048749-DF89-3F4F-8516-0D397626064D}" srcOrd="0" destOrd="0" presId="urn:microsoft.com/office/officeart/2005/8/layout/orgChart1"/>
    <dgm:cxn modelId="{85EF36E6-8A4F-7040-A428-D752E4F95C7B}" type="presParOf" srcId="{F7D78641-8415-4949-8016-DD93918B55DC}" destId="{33A67A69-1449-3745-9C65-DC68EBC21C14}" srcOrd="1" destOrd="0" presId="urn:microsoft.com/office/officeart/2005/8/layout/orgChart1"/>
    <dgm:cxn modelId="{7EE87C34-01D5-2F4F-A72B-EF7811A78485}" type="presParOf" srcId="{85E9FAB9-621C-EA4B-A44F-1FC159EEDAE4}" destId="{87EDC791-11C0-3743-BDFE-D3B4B346027A}" srcOrd="1" destOrd="0" presId="urn:microsoft.com/office/officeart/2005/8/layout/orgChart1"/>
    <dgm:cxn modelId="{340486EB-9236-E745-8C5C-F7A122F592AB}" type="presParOf" srcId="{87EDC791-11C0-3743-BDFE-D3B4B346027A}" destId="{7D191177-C9EA-FF41-9594-32BC9601DCFB}" srcOrd="0" destOrd="0" presId="urn:microsoft.com/office/officeart/2005/8/layout/orgChart1"/>
    <dgm:cxn modelId="{590E5174-7D0C-A143-AE01-F1DCE47D3C67}" type="presParOf" srcId="{87EDC791-11C0-3743-BDFE-D3B4B346027A}" destId="{4B4E6187-B42C-2F4D-8551-EEEB2A90B5C6}" srcOrd="1" destOrd="0" presId="urn:microsoft.com/office/officeart/2005/8/layout/orgChart1"/>
    <dgm:cxn modelId="{94DC42C1-7FBE-F141-8385-157C3884C1A9}" type="presParOf" srcId="{4B4E6187-B42C-2F4D-8551-EEEB2A90B5C6}" destId="{C3427AD9-DF3F-074C-8899-CD8E30BF6A9C}" srcOrd="0" destOrd="0" presId="urn:microsoft.com/office/officeart/2005/8/layout/orgChart1"/>
    <dgm:cxn modelId="{5E0115C1-C0F0-7E49-A0A0-1B61A5CBE035}" type="presParOf" srcId="{C3427AD9-DF3F-074C-8899-CD8E30BF6A9C}" destId="{BD4D5285-33B2-2A47-B621-497A22E62051}" srcOrd="0" destOrd="0" presId="urn:microsoft.com/office/officeart/2005/8/layout/orgChart1"/>
    <dgm:cxn modelId="{BC0CD626-DC27-6B47-9CBB-03CA088294AD}" type="presParOf" srcId="{C3427AD9-DF3F-074C-8899-CD8E30BF6A9C}" destId="{749A7C20-0F48-EF43-93DC-427816CB8591}" srcOrd="1" destOrd="0" presId="urn:microsoft.com/office/officeart/2005/8/layout/orgChart1"/>
    <dgm:cxn modelId="{CA092964-9B0D-B646-BA2C-1EC77513D0FC}" type="presParOf" srcId="{4B4E6187-B42C-2F4D-8551-EEEB2A90B5C6}" destId="{D5A4019C-5954-C049-9848-CF8E2FA4F36F}" srcOrd="1" destOrd="0" presId="urn:microsoft.com/office/officeart/2005/8/layout/orgChart1"/>
    <dgm:cxn modelId="{B0F019FB-15E8-4D4F-B6E0-0B221087EDDA}" type="presParOf" srcId="{4B4E6187-B42C-2F4D-8551-EEEB2A90B5C6}" destId="{C7E6490A-93AE-AB4A-94E2-702EAF6145F5}" srcOrd="2" destOrd="0" presId="urn:microsoft.com/office/officeart/2005/8/layout/orgChart1"/>
    <dgm:cxn modelId="{216B591E-B21A-B54B-8473-3A7C86F85A64}" type="presParOf" srcId="{87EDC791-11C0-3743-BDFE-D3B4B346027A}" destId="{BC64E9AA-6B5F-8942-B172-C0854D235754}" srcOrd="2" destOrd="0" presId="urn:microsoft.com/office/officeart/2005/8/layout/orgChart1"/>
    <dgm:cxn modelId="{4563AC41-08BD-364E-B2B1-CA4E1CC7975C}" type="presParOf" srcId="{87EDC791-11C0-3743-BDFE-D3B4B346027A}" destId="{572E99CF-3F05-7D42-818F-75AF8822D478}" srcOrd="3" destOrd="0" presId="urn:microsoft.com/office/officeart/2005/8/layout/orgChart1"/>
    <dgm:cxn modelId="{6A03A8DD-C7CA-BB41-9AEB-21AD4CD770D7}" type="presParOf" srcId="{572E99CF-3F05-7D42-818F-75AF8822D478}" destId="{47B3E555-BC93-0649-A92D-813EC32D91DB}" srcOrd="0" destOrd="0" presId="urn:microsoft.com/office/officeart/2005/8/layout/orgChart1"/>
    <dgm:cxn modelId="{04A92A0F-F089-5848-8A4D-13D13DF9D2E8}" type="presParOf" srcId="{47B3E555-BC93-0649-A92D-813EC32D91DB}" destId="{E5BB6962-51A3-BC4F-A4F4-47C20CBB48DC}" srcOrd="0" destOrd="0" presId="urn:microsoft.com/office/officeart/2005/8/layout/orgChart1"/>
    <dgm:cxn modelId="{DE8DDB7E-E128-3E4E-8211-DBF7D56FEDD1}" type="presParOf" srcId="{47B3E555-BC93-0649-A92D-813EC32D91DB}" destId="{C8C96CBE-E48B-4248-BE67-7455D5ED3E3B}" srcOrd="1" destOrd="0" presId="urn:microsoft.com/office/officeart/2005/8/layout/orgChart1"/>
    <dgm:cxn modelId="{2A6EAB3F-6061-4B4D-94FA-F9730E99976B}" type="presParOf" srcId="{572E99CF-3F05-7D42-818F-75AF8822D478}" destId="{3B26B72C-8545-7A48-8F1C-C800FCC9E21C}" srcOrd="1" destOrd="0" presId="urn:microsoft.com/office/officeart/2005/8/layout/orgChart1"/>
    <dgm:cxn modelId="{1553C595-0BE9-B94A-9532-AD9F2C312BCC}" type="presParOf" srcId="{572E99CF-3F05-7D42-818F-75AF8822D478}" destId="{9BB8C818-D98F-7940-90F3-10D24EE79319}" srcOrd="2" destOrd="0" presId="urn:microsoft.com/office/officeart/2005/8/layout/orgChart1"/>
    <dgm:cxn modelId="{709F6729-06BE-0742-9495-9D7E28A17522}" type="presParOf" srcId="{87EDC791-11C0-3743-BDFE-D3B4B346027A}" destId="{D78CC972-4FEE-1946-AC7A-F0AAF26B335D}" srcOrd="4" destOrd="0" presId="urn:microsoft.com/office/officeart/2005/8/layout/orgChart1"/>
    <dgm:cxn modelId="{C3E0DF3F-2A52-EF47-97D4-AD73C9E38405}" type="presParOf" srcId="{87EDC791-11C0-3743-BDFE-D3B4B346027A}" destId="{15E35DC2-03D0-944C-93C5-EEBE9B4C7A0F}" srcOrd="5" destOrd="0" presId="urn:microsoft.com/office/officeart/2005/8/layout/orgChart1"/>
    <dgm:cxn modelId="{6075D142-2595-2D4C-B2DE-9096B9D05396}" type="presParOf" srcId="{15E35DC2-03D0-944C-93C5-EEBE9B4C7A0F}" destId="{233E7290-840B-BD4A-A4A8-3F9DF07CE32F}" srcOrd="0" destOrd="0" presId="urn:microsoft.com/office/officeart/2005/8/layout/orgChart1"/>
    <dgm:cxn modelId="{419C58B4-49B5-E145-A9F3-CFEB5FA61E98}" type="presParOf" srcId="{233E7290-840B-BD4A-A4A8-3F9DF07CE32F}" destId="{9BEE256E-382A-994B-AE66-F0AA37293150}" srcOrd="0" destOrd="0" presId="urn:microsoft.com/office/officeart/2005/8/layout/orgChart1"/>
    <dgm:cxn modelId="{23689E79-71C2-2C46-AA5B-2414C3B90B24}" type="presParOf" srcId="{233E7290-840B-BD4A-A4A8-3F9DF07CE32F}" destId="{4D9B97FD-0DDF-DE47-AFAA-2E25F9CBEAA5}" srcOrd="1" destOrd="0" presId="urn:microsoft.com/office/officeart/2005/8/layout/orgChart1"/>
    <dgm:cxn modelId="{03BE8CD3-EEA4-0B4B-A6B9-9E66265009DC}" type="presParOf" srcId="{15E35DC2-03D0-944C-93C5-EEBE9B4C7A0F}" destId="{8C1AA5D1-E2DB-1644-8539-C7DBB87ED53F}" srcOrd="1" destOrd="0" presId="urn:microsoft.com/office/officeart/2005/8/layout/orgChart1"/>
    <dgm:cxn modelId="{8116DF79-A9F2-5444-886A-44E8BF83A7BE}" type="presParOf" srcId="{15E35DC2-03D0-944C-93C5-EEBE9B4C7A0F}" destId="{F693E47C-6BE6-5B44-A805-3B2F15952C7A}" srcOrd="2" destOrd="0" presId="urn:microsoft.com/office/officeart/2005/8/layout/orgChart1"/>
    <dgm:cxn modelId="{FEAB2D3C-AD32-2846-9B87-BAAFCAD7C74E}" type="presParOf" srcId="{85E9FAB9-621C-EA4B-A44F-1FC159EEDAE4}" destId="{198EE66B-35F3-7240-9E5E-1DF9AA476B0C}" srcOrd="2" destOrd="0" presId="urn:microsoft.com/office/officeart/2005/8/layout/orgChart1"/>
    <dgm:cxn modelId="{BADD5BAA-3D23-504A-AF85-62950007946B}" type="presParOf" srcId="{198EE66B-35F3-7240-9E5E-1DF9AA476B0C}" destId="{AEE81860-79B3-DD49-BAE7-611C0E199D71}" srcOrd="0" destOrd="0" presId="urn:microsoft.com/office/officeart/2005/8/layout/orgChart1"/>
    <dgm:cxn modelId="{68B30017-4980-BE4F-88A7-AC5BA3681AFA}" type="presParOf" srcId="{198EE66B-35F3-7240-9E5E-1DF9AA476B0C}" destId="{45FBDF4E-2304-7548-ADA1-622AC45EBB6B}" srcOrd="1" destOrd="0" presId="urn:microsoft.com/office/officeart/2005/8/layout/orgChart1"/>
    <dgm:cxn modelId="{99876522-DD33-5C4D-BC70-83FF521F21D9}" type="presParOf" srcId="{45FBDF4E-2304-7548-ADA1-622AC45EBB6B}" destId="{4A4AEE9C-58ED-AD49-BB23-A87C240CC592}" srcOrd="0" destOrd="0" presId="urn:microsoft.com/office/officeart/2005/8/layout/orgChart1"/>
    <dgm:cxn modelId="{C116D012-987D-3641-810C-1B84F1E933BE}" type="presParOf" srcId="{4A4AEE9C-58ED-AD49-BB23-A87C240CC592}" destId="{5940E1C6-5FE1-7940-9A76-81BD39F523C6}" srcOrd="0" destOrd="0" presId="urn:microsoft.com/office/officeart/2005/8/layout/orgChart1"/>
    <dgm:cxn modelId="{70E61162-B9B0-3543-984A-7B976D776A63}" type="presParOf" srcId="{4A4AEE9C-58ED-AD49-BB23-A87C240CC592}" destId="{0DF7D390-C1FA-1D45-88A8-ECEDE15485F4}" srcOrd="1" destOrd="0" presId="urn:microsoft.com/office/officeart/2005/8/layout/orgChart1"/>
    <dgm:cxn modelId="{F8833F6F-DC44-F948-8297-CB26F3B1DC18}" type="presParOf" srcId="{45FBDF4E-2304-7548-ADA1-622AC45EBB6B}" destId="{B3C11774-8202-A742-911E-F87FBDD8D4D3}" srcOrd="1" destOrd="0" presId="urn:microsoft.com/office/officeart/2005/8/layout/orgChart1"/>
    <dgm:cxn modelId="{F290BB8D-3570-6643-9EE1-E8409D8A513A}" type="presParOf" srcId="{45FBDF4E-2304-7548-ADA1-622AC45EBB6B}" destId="{5FEFB34C-F641-C646-80CD-FBFC3CB9D2E3}" srcOrd="2" destOrd="0" presId="urn:microsoft.com/office/officeart/2005/8/layout/orgChart1"/>
  </dgm:cxnLst>
  <dgm:bg>
    <a:solidFill>
      <a:schemeClr val="accent6">
        <a:lumMod val="20000"/>
        <a:lumOff val="80000"/>
      </a:schemeClr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EE76F6-26F1-4CF5-97BF-EBA10876F44F}">
      <dsp:nvSpPr>
        <dsp:cNvPr id="0" name=""/>
        <dsp:cNvSpPr/>
      </dsp:nvSpPr>
      <dsp:spPr>
        <a:xfrm>
          <a:off x="0" y="824"/>
          <a:ext cx="7849489" cy="0"/>
        </a:xfrm>
        <a:prstGeom prst="lin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BE07D9B-A83E-4F54-BE94-5A9FF19564C7}">
      <dsp:nvSpPr>
        <dsp:cNvPr id="0" name=""/>
        <dsp:cNvSpPr/>
      </dsp:nvSpPr>
      <dsp:spPr>
        <a:xfrm>
          <a:off x="0" y="824"/>
          <a:ext cx="7849489" cy="13509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8590" tIns="148590" rIns="148590" bIns="148590" numCol="1" spcCol="1270" anchor="t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Tính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dễ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bị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tổn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thương</a:t>
          </a:r>
          <a:endParaRPr lang="en-US" sz="39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0" y="824"/>
        <a:ext cx="7849489" cy="1350950"/>
      </dsp:txXfrm>
    </dsp:sp>
    <dsp:sp modelId="{B06692DF-8B8F-4FBF-A491-4B1D686F5043}">
      <dsp:nvSpPr>
        <dsp:cNvPr id="0" name=""/>
        <dsp:cNvSpPr/>
      </dsp:nvSpPr>
      <dsp:spPr>
        <a:xfrm>
          <a:off x="0" y="1351774"/>
          <a:ext cx="7849489" cy="0"/>
        </a:xfrm>
        <a:prstGeom prst="line">
          <a:avLst/>
        </a:prstGeom>
        <a:gradFill rotWithShape="0">
          <a:gsLst>
            <a:gs pos="0">
              <a:schemeClr val="accent5">
                <a:hueOff val="-209966"/>
                <a:satOff val="11412"/>
                <a:lumOff val="-2108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5">
                <a:hueOff val="-209966"/>
                <a:satOff val="11412"/>
                <a:lumOff val="-2108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5">
                <a:hueOff val="-209966"/>
                <a:satOff val="11412"/>
                <a:lumOff val="-2108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 w="9525" cap="flat" cmpd="sng" algn="ctr">
          <a:solidFill>
            <a:schemeClr val="accent5">
              <a:hueOff val="-209966"/>
              <a:satOff val="11412"/>
              <a:lumOff val="-2108"/>
              <a:alphaOff val="0"/>
            </a:schemeClr>
          </a:solidFill>
          <a:prstDash val="solid"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10FC390-3E33-4668-B62D-3BBB1654E05F}">
      <dsp:nvSpPr>
        <dsp:cNvPr id="0" name=""/>
        <dsp:cNvSpPr/>
      </dsp:nvSpPr>
      <dsp:spPr>
        <a:xfrm>
          <a:off x="0" y="1351774"/>
          <a:ext cx="7849489" cy="13509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8590" tIns="148590" rIns="148590" bIns="148590" numCol="1" spcCol="1270" anchor="t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Mỗi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đứa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đều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những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quyền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/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giá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trị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bẩm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sinh</a:t>
          </a:r>
          <a:endParaRPr lang="en-US" sz="39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0" y="1351774"/>
        <a:ext cx="7849489" cy="1350950"/>
      </dsp:txXfrm>
    </dsp:sp>
    <dsp:sp modelId="{8CED41C9-0FCB-4E75-8B51-1189DCB6F097}">
      <dsp:nvSpPr>
        <dsp:cNvPr id="0" name=""/>
        <dsp:cNvSpPr/>
      </dsp:nvSpPr>
      <dsp:spPr>
        <a:xfrm>
          <a:off x="0" y="2702724"/>
          <a:ext cx="7849489" cy="0"/>
        </a:xfrm>
        <a:prstGeom prst="line">
          <a:avLst/>
        </a:prstGeom>
        <a:gradFill rotWithShape="0">
          <a:gsLst>
            <a:gs pos="0">
              <a:schemeClr val="accent5">
                <a:hueOff val="-419932"/>
                <a:satOff val="22824"/>
                <a:lumOff val="-4216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5">
                <a:hueOff val="-419932"/>
                <a:satOff val="22824"/>
                <a:lumOff val="-4216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5">
                <a:hueOff val="-419932"/>
                <a:satOff val="22824"/>
                <a:lumOff val="-4216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 w="9525" cap="flat" cmpd="sng" algn="ctr">
          <a:solidFill>
            <a:schemeClr val="accent5">
              <a:hueOff val="-419932"/>
              <a:satOff val="22824"/>
              <a:lumOff val="-4216"/>
              <a:alphaOff val="0"/>
            </a:schemeClr>
          </a:solidFill>
          <a:prstDash val="solid"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B8B9418-7A79-4C9D-8429-E39BDC298318}">
      <dsp:nvSpPr>
        <dsp:cNvPr id="0" name=""/>
        <dsp:cNvSpPr/>
      </dsp:nvSpPr>
      <dsp:spPr>
        <a:xfrm>
          <a:off x="0" y="2702724"/>
          <a:ext cx="7849489" cy="13509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8590" tIns="148590" rIns="148590" bIns="148590" numCol="1" spcCol="1270" anchor="t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Giúp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phát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huy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tối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đa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năng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lực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bản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thân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và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khả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năng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tự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hoàn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thiện</a:t>
          </a:r>
          <a:endParaRPr lang="en-US" sz="39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0" y="2702724"/>
        <a:ext cx="7849489" cy="1350950"/>
      </dsp:txXfrm>
    </dsp:sp>
    <dsp:sp modelId="{18BD4BA9-CDD6-498D-83C0-F9D5A58E3749}">
      <dsp:nvSpPr>
        <dsp:cNvPr id="0" name=""/>
        <dsp:cNvSpPr/>
      </dsp:nvSpPr>
      <dsp:spPr>
        <a:xfrm>
          <a:off x="0" y="4053675"/>
          <a:ext cx="7849489" cy="0"/>
        </a:xfrm>
        <a:prstGeom prst="line">
          <a:avLst/>
        </a:prstGeom>
        <a:gradFill rotWithShape="0">
          <a:gsLst>
            <a:gs pos="0">
              <a:schemeClr val="accent5">
                <a:hueOff val="-629899"/>
                <a:satOff val="34235"/>
                <a:lumOff val="-6324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5">
                <a:hueOff val="-629899"/>
                <a:satOff val="34235"/>
                <a:lumOff val="-6324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5">
                <a:hueOff val="-629899"/>
                <a:satOff val="34235"/>
                <a:lumOff val="-6324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 w="9525" cap="flat" cmpd="sng" algn="ctr">
          <a:solidFill>
            <a:schemeClr val="accent5">
              <a:hueOff val="-629899"/>
              <a:satOff val="34235"/>
              <a:lumOff val="-6324"/>
              <a:alphaOff val="0"/>
            </a:schemeClr>
          </a:solidFill>
          <a:prstDash val="solid"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BDA9B81-8657-4243-A9F1-62744C235B18}">
      <dsp:nvSpPr>
        <dsp:cNvPr id="0" name=""/>
        <dsp:cNvSpPr/>
      </dsp:nvSpPr>
      <dsp:spPr>
        <a:xfrm>
          <a:off x="0" y="4053675"/>
          <a:ext cx="7849489" cy="13509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8590" tIns="148590" rIns="148590" bIns="148590" numCol="1" spcCol="1270" anchor="t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Cải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thiện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an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sinh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em</a:t>
          </a:r>
          <a:endParaRPr lang="en-US" sz="39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0" y="4053675"/>
        <a:ext cx="7849489" cy="1350950"/>
      </dsp:txXfrm>
    </dsp:sp>
    <dsp:sp modelId="{A15CFA09-0022-4FEF-90D6-D44E4FFB47E7}">
      <dsp:nvSpPr>
        <dsp:cNvPr id="0" name=""/>
        <dsp:cNvSpPr/>
      </dsp:nvSpPr>
      <dsp:spPr>
        <a:xfrm>
          <a:off x="0" y="5404625"/>
          <a:ext cx="7849489" cy="0"/>
        </a:xfrm>
        <a:prstGeom prst="line">
          <a:avLst/>
        </a:prstGeom>
        <a:gradFill rotWithShape="0">
          <a:gsLst>
            <a:gs pos="0">
              <a:schemeClr val="accent5">
                <a:hueOff val="-839865"/>
                <a:satOff val="45647"/>
                <a:lumOff val="-8432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5">
                <a:hueOff val="-839865"/>
                <a:satOff val="45647"/>
                <a:lumOff val="-8432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5">
                <a:hueOff val="-839865"/>
                <a:satOff val="45647"/>
                <a:lumOff val="-8432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 w="9525" cap="flat" cmpd="sng" algn="ctr">
          <a:solidFill>
            <a:schemeClr val="accent5">
              <a:hueOff val="-839865"/>
              <a:satOff val="45647"/>
              <a:lumOff val="-8432"/>
              <a:alphaOff val="0"/>
            </a:schemeClr>
          </a:solidFill>
          <a:prstDash val="solid"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DFC1376-3EA1-4B06-AA70-1C93D37000FF}">
      <dsp:nvSpPr>
        <dsp:cNvPr id="0" name=""/>
        <dsp:cNvSpPr/>
      </dsp:nvSpPr>
      <dsp:spPr>
        <a:xfrm>
          <a:off x="0" y="5404625"/>
          <a:ext cx="7849489" cy="13509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8590" tIns="148590" rIns="148590" bIns="148590" numCol="1" spcCol="1270" anchor="t" anchorCtr="0">
          <a:noAutofit/>
        </a:bodyPr>
        <a:lstStyle/>
        <a:p>
          <a:pPr marL="0" lvl="0" indent="0" algn="l" defTabSz="1733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Giảm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chi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phí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cơ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hội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trong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tương</a:t>
          </a:r>
          <a:r>
            <a:rPr lang="en-US" sz="39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900" kern="1200" dirty="0" err="1">
              <a:latin typeface="Times New Roman" pitchFamily="18" charset="0"/>
              <a:cs typeface="Times New Roman" pitchFamily="18" charset="0"/>
            </a:rPr>
            <a:t>lai</a:t>
          </a:r>
          <a:endParaRPr lang="en-US" sz="39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0" y="5404625"/>
        <a:ext cx="7849489" cy="135095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65A722-FAE5-0743-8243-5C558DC8FA37}">
      <dsp:nvSpPr>
        <dsp:cNvPr id="0" name=""/>
        <dsp:cNvSpPr/>
      </dsp:nvSpPr>
      <dsp:spPr>
        <a:xfrm>
          <a:off x="4000382" y="1261"/>
          <a:ext cx="4087496" cy="1669851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ể</a:t>
          </a:r>
          <a:r>
            <a:rPr lang="en-US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ất</a:t>
          </a:r>
          <a:endParaRPr lang="en-US" sz="32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4598982" y="245805"/>
        <a:ext cx="2890296" cy="1180763"/>
      </dsp:txXfrm>
    </dsp:sp>
    <dsp:sp modelId="{D4C46D54-7C06-E24E-901E-F779573EBB88}">
      <dsp:nvSpPr>
        <dsp:cNvPr id="0" name=""/>
        <dsp:cNvSpPr/>
      </dsp:nvSpPr>
      <dsp:spPr>
        <a:xfrm rot="1014339">
          <a:off x="7952568" y="1243164"/>
          <a:ext cx="715499" cy="56357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>
            <a:solidFill>
              <a:schemeClr val="tx1"/>
            </a:solidFill>
          </a:endParaRPr>
        </a:p>
      </dsp:txBody>
      <dsp:txXfrm>
        <a:off x="7956221" y="1331296"/>
        <a:ext cx="546427" cy="338144"/>
      </dsp:txXfrm>
    </dsp:sp>
    <dsp:sp modelId="{C38BE90F-8299-7646-8EDC-36215AA3DA6E}">
      <dsp:nvSpPr>
        <dsp:cNvPr id="0" name=""/>
        <dsp:cNvSpPr/>
      </dsp:nvSpPr>
      <dsp:spPr>
        <a:xfrm>
          <a:off x="8703842" y="1339709"/>
          <a:ext cx="3488152" cy="1669851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âm</a:t>
          </a:r>
          <a:r>
            <a:rPr lang="en-US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ý</a:t>
          </a:r>
          <a:endParaRPr lang="en-US" sz="32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9214670" y="1584253"/>
        <a:ext cx="2466496" cy="1180763"/>
      </dsp:txXfrm>
    </dsp:sp>
    <dsp:sp modelId="{11B16632-3AF8-3B4B-85B4-6FD8695DFD3F}">
      <dsp:nvSpPr>
        <dsp:cNvPr id="0" name=""/>
        <dsp:cNvSpPr/>
      </dsp:nvSpPr>
      <dsp:spPr>
        <a:xfrm rot="5563287">
          <a:off x="10064010" y="3306542"/>
          <a:ext cx="633419" cy="56357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>
            <a:solidFill>
              <a:schemeClr val="tx1"/>
            </a:solidFill>
          </a:endParaRPr>
        </a:p>
      </dsp:txBody>
      <dsp:txXfrm rot="10800000">
        <a:off x="10152560" y="3334816"/>
        <a:ext cx="464347" cy="338144"/>
      </dsp:txXfrm>
    </dsp:sp>
    <dsp:sp modelId="{99FFAF1C-8D16-5C42-937E-84E7A810F4BB}">
      <dsp:nvSpPr>
        <dsp:cNvPr id="0" name=""/>
        <dsp:cNvSpPr/>
      </dsp:nvSpPr>
      <dsp:spPr>
        <a:xfrm>
          <a:off x="8431640" y="4202942"/>
          <a:ext cx="3760355" cy="1669851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m</a:t>
          </a:r>
          <a:r>
            <a:rPr lang="en-US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úc</a:t>
          </a:r>
          <a:endParaRPr lang="en-US" sz="32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8982331" y="4447486"/>
        <a:ext cx="2658973" cy="1180763"/>
      </dsp:txXfrm>
    </dsp:sp>
    <dsp:sp modelId="{D9F41B2C-7372-734F-8545-A7839A237CA6}">
      <dsp:nvSpPr>
        <dsp:cNvPr id="0" name=""/>
        <dsp:cNvSpPr/>
      </dsp:nvSpPr>
      <dsp:spPr>
        <a:xfrm rot="10127536">
          <a:off x="8110581" y="5157920"/>
          <a:ext cx="346464" cy="56357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>
            <a:solidFill>
              <a:schemeClr val="tx1"/>
            </a:solidFill>
          </a:endParaRPr>
        </a:p>
      </dsp:txBody>
      <dsp:txXfrm rot="10800000">
        <a:off x="8213529" y="5260534"/>
        <a:ext cx="242525" cy="338144"/>
      </dsp:txXfrm>
    </dsp:sp>
    <dsp:sp modelId="{D3205548-0A7F-C647-AC69-98D0F87F08BD}">
      <dsp:nvSpPr>
        <dsp:cNvPr id="0" name=""/>
        <dsp:cNvSpPr/>
      </dsp:nvSpPr>
      <dsp:spPr>
        <a:xfrm>
          <a:off x="4316821" y="5013818"/>
          <a:ext cx="3805341" cy="1669851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ận</a:t>
          </a:r>
          <a:r>
            <a:rPr lang="en-US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ức</a:t>
          </a:r>
          <a:endParaRPr lang="en-US" sz="32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4874100" y="5258362"/>
        <a:ext cx="2690783" cy="1180763"/>
      </dsp:txXfrm>
    </dsp:sp>
    <dsp:sp modelId="{A71BA631-9E30-694A-B798-6AE5B2FDD51C}">
      <dsp:nvSpPr>
        <dsp:cNvPr id="0" name=""/>
        <dsp:cNvSpPr/>
      </dsp:nvSpPr>
      <dsp:spPr>
        <a:xfrm rot="11618143">
          <a:off x="4139421" y="5098585"/>
          <a:ext cx="298641" cy="56357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>
            <a:solidFill>
              <a:schemeClr val="tx1"/>
            </a:solidFill>
          </a:endParaRPr>
        </a:p>
      </dsp:txBody>
      <dsp:txXfrm rot="10800000">
        <a:off x="4227750" y="5221861"/>
        <a:ext cx="209049" cy="338144"/>
      </dsp:txXfrm>
    </dsp:sp>
    <dsp:sp modelId="{E4E2CD37-A03A-0A46-BEC7-D076A2976894}">
      <dsp:nvSpPr>
        <dsp:cNvPr id="0" name=""/>
        <dsp:cNvSpPr/>
      </dsp:nvSpPr>
      <dsp:spPr>
        <a:xfrm>
          <a:off x="651720" y="4094096"/>
          <a:ext cx="3552876" cy="1669851"/>
        </a:xfrm>
        <a:prstGeom prst="ellipse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ã</a:t>
          </a:r>
          <a:r>
            <a:rPr lang="en-US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ội</a:t>
          </a:r>
          <a:endParaRPr lang="en-US" sz="32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1172027" y="4338640"/>
        <a:ext cx="2512262" cy="1180763"/>
      </dsp:txXfrm>
    </dsp:sp>
    <dsp:sp modelId="{FF22B9E1-1178-AF40-8075-D980F1D31EE4}">
      <dsp:nvSpPr>
        <dsp:cNvPr id="0" name=""/>
        <dsp:cNvSpPr/>
      </dsp:nvSpPr>
      <dsp:spPr>
        <a:xfrm rot="15482372">
          <a:off x="1785119" y="3210145"/>
          <a:ext cx="677225" cy="56357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>
            <a:solidFill>
              <a:schemeClr val="tx1"/>
            </a:solidFill>
          </a:endParaRPr>
        </a:p>
      </dsp:txBody>
      <dsp:txXfrm rot="10800000">
        <a:off x="1887174" y="3405561"/>
        <a:ext cx="508153" cy="338144"/>
      </dsp:txXfrm>
    </dsp:sp>
    <dsp:sp modelId="{F2D81556-9D09-EC4C-B2A6-B2B6CDAE1B2F}">
      <dsp:nvSpPr>
        <dsp:cNvPr id="0" name=""/>
        <dsp:cNvSpPr/>
      </dsp:nvSpPr>
      <dsp:spPr>
        <a:xfrm>
          <a:off x="156694" y="1183036"/>
          <a:ext cx="3309595" cy="1669851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ạo</a:t>
          </a:r>
          <a:r>
            <a:rPr lang="en-US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ức</a:t>
          </a:r>
          <a:endParaRPr lang="en-US" sz="32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641373" y="1427580"/>
        <a:ext cx="2340237" cy="1180763"/>
      </dsp:txXfrm>
    </dsp:sp>
    <dsp:sp modelId="{4BF7F635-DDA6-1E4B-87FA-797F93AB4D05}">
      <dsp:nvSpPr>
        <dsp:cNvPr id="0" name=""/>
        <dsp:cNvSpPr/>
      </dsp:nvSpPr>
      <dsp:spPr>
        <a:xfrm rot="20663999">
          <a:off x="3489694" y="1183308"/>
          <a:ext cx="603880" cy="56357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 dirty="0">
            <a:solidFill>
              <a:schemeClr val="tx1"/>
            </a:solidFill>
          </a:endParaRPr>
        </a:p>
      </dsp:txBody>
      <dsp:txXfrm>
        <a:off x="3492808" y="1318756"/>
        <a:ext cx="434808" cy="338144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779271-A17A-4648-9AE6-590A3FD7D794}">
      <dsp:nvSpPr>
        <dsp:cNvPr id="0" name=""/>
        <dsp:cNvSpPr/>
      </dsp:nvSpPr>
      <dsp:spPr>
        <a:xfrm rot="16200000">
          <a:off x="856" y="1522"/>
          <a:ext cx="5917406" cy="5917406"/>
        </a:xfrm>
        <a:prstGeom prst="downArrow">
          <a:avLst>
            <a:gd name="adj1" fmla="val 50000"/>
            <a:gd name="adj2" fmla="val 35000"/>
          </a:avLst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ác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ứ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ố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cha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ẹ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ay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ế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(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ạ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ì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ay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ế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). 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ay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ắ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ầ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ế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ớ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ả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iệ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ấ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ố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Yê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o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ố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!</a:t>
          </a:r>
        </a:p>
      </dsp:txBody>
      <dsp:txXfrm rot="5400000">
        <a:off x="857" y="1480872"/>
        <a:ext cx="4881860" cy="2958703"/>
      </dsp:txXfrm>
    </dsp:sp>
    <dsp:sp modelId="{2245D429-2CAC-F14A-BDF7-E47DD3E80A90}">
      <dsp:nvSpPr>
        <dsp:cNvPr id="0" name=""/>
        <dsp:cNvSpPr/>
      </dsp:nvSpPr>
      <dsp:spPr>
        <a:xfrm rot="5400000">
          <a:off x="6273737" y="1522"/>
          <a:ext cx="5917406" cy="5917406"/>
        </a:xfrm>
        <a:prstGeom prst="downArrow">
          <a:avLst>
            <a:gd name="adj1" fmla="val 50000"/>
            <a:gd name="adj2" fmla="val 35000"/>
          </a:avLst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oà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ò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ỏ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ê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3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oạ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uồ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ự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á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: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uồ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ự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highlight>
                <a:srgbClr val="FFFF00"/>
              </a:highlight>
              <a:latin typeface="Times New Roman" pitchFamily="18" charset="0"/>
              <a:cs typeface="Times New Roman" pitchFamily="18" charset="0"/>
            </a:rPr>
            <a:t>cốt</a:t>
          </a:r>
          <a:r>
            <a:rPr lang="en-GB" sz="2400" kern="1200" dirty="0">
              <a:solidFill>
                <a:schemeClr val="tx1"/>
              </a:solidFill>
              <a:highlight>
                <a:srgbClr val="FFFF00"/>
              </a:highlight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highlight>
                <a:srgbClr val="FFFF00"/>
              </a:highlight>
              <a:latin typeface="Times New Roman" pitchFamily="18" charset="0"/>
              <a:cs typeface="Times New Roman" pitchFamily="18" charset="0"/>
            </a:rPr>
            <a:t>yếu</a:t>
          </a:r>
          <a:r>
            <a:rPr lang="en-GB" sz="2400" kern="1200" dirty="0">
              <a:solidFill>
                <a:schemeClr val="tx1"/>
              </a:solidFill>
              <a:highlight>
                <a:srgbClr val="FFFF00"/>
              </a:highlight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-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ề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ở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ứ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ă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ầ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áo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o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[instrumental resources]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uồ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ự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â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ă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ự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ộ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ạ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ỗ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â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 – Cam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ế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ì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yê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í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ự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ự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tin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uồ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ự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ã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ộ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ố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ệ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u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[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ạ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ướ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ỗ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ợ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)</a:t>
          </a:r>
        </a:p>
      </dsp:txBody>
      <dsp:txXfrm rot="-5400000">
        <a:off x="7309284" y="1480874"/>
        <a:ext cx="4881860" cy="2958703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AD5226-4156-EC47-8950-3FED28D24BC8}">
      <dsp:nvSpPr>
        <dsp:cNvPr id="0" name=""/>
        <dsp:cNvSpPr/>
      </dsp:nvSpPr>
      <dsp:spPr>
        <a:xfrm>
          <a:off x="3613673" y="0"/>
          <a:ext cx="5291528" cy="5291528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16EE78F-2281-1D43-8C99-B4E69DB3882F}">
      <dsp:nvSpPr>
        <dsp:cNvPr id="0" name=""/>
        <dsp:cNvSpPr/>
      </dsp:nvSpPr>
      <dsp:spPr>
        <a:xfrm>
          <a:off x="254832" y="409684"/>
          <a:ext cx="3804609" cy="2063695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ặc</a:t>
          </a:r>
          <a:r>
            <a:rPr lang="en-GB" sz="4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4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ính</a:t>
          </a:r>
          <a:r>
            <a:rPr lang="en-GB" sz="4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4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4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4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4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4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ớn</a:t>
          </a:r>
          <a:endParaRPr lang="en-GB" sz="40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355573" y="510425"/>
        <a:ext cx="3603127" cy="1862213"/>
      </dsp:txXfrm>
    </dsp:sp>
    <dsp:sp modelId="{FE66F014-7FBF-2E4F-ADC8-0FBC1D57F71F}">
      <dsp:nvSpPr>
        <dsp:cNvPr id="0" name=""/>
        <dsp:cNvSpPr/>
      </dsp:nvSpPr>
      <dsp:spPr>
        <a:xfrm>
          <a:off x="4202194" y="409684"/>
          <a:ext cx="3278944" cy="2063695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ặc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ính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endParaRPr lang="en-GB" sz="28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[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Yêu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]</a:t>
          </a:r>
        </a:p>
      </dsp:txBody>
      <dsp:txXfrm>
        <a:off x="4302935" y="510425"/>
        <a:ext cx="3077462" cy="1862213"/>
      </dsp:txXfrm>
    </dsp:sp>
    <dsp:sp modelId="{0789115B-134B-4F4C-AF78-B11A86C031D0}">
      <dsp:nvSpPr>
        <dsp:cNvPr id="0" name=""/>
        <dsp:cNvSpPr/>
      </dsp:nvSpPr>
      <dsp:spPr>
        <a:xfrm>
          <a:off x="257876" y="2883050"/>
          <a:ext cx="3901334" cy="2063695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ặ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í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uồ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ực</a:t>
          </a:r>
          <a:endParaRPr lang="en-GB" sz="2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358617" y="2983791"/>
        <a:ext cx="3699852" cy="1862213"/>
      </dsp:txXfrm>
    </dsp:sp>
    <dsp:sp modelId="{097A9BF6-EBF2-F74A-844D-106CE44BDABD}">
      <dsp:nvSpPr>
        <dsp:cNvPr id="0" name=""/>
        <dsp:cNvSpPr/>
      </dsp:nvSpPr>
      <dsp:spPr>
        <a:xfrm>
          <a:off x="4607617" y="2883050"/>
          <a:ext cx="3517404" cy="2063695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ặ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í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ề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ậ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ự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uộ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ố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ì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ày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uầ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á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ă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..</a:t>
          </a:r>
        </a:p>
      </dsp:txBody>
      <dsp:txXfrm>
        <a:off x="4708358" y="2983791"/>
        <a:ext cx="3315922" cy="1862213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BF99339-274D-F241-B4C7-584494ED2084}">
      <dsp:nvSpPr>
        <dsp:cNvPr id="0" name=""/>
        <dsp:cNvSpPr/>
      </dsp:nvSpPr>
      <dsp:spPr>
        <a:xfrm>
          <a:off x="2188041" y="-99054"/>
          <a:ext cx="6934446" cy="944165"/>
        </a:xfrm>
        <a:prstGeom prst="roundRect">
          <a:avLst/>
        </a:prstGeom>
        <a:solidFill>
          <a:schemeClr val="bg1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1. INTERNET– Gia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ă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ận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ách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iếu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iểm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oát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ô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tin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phù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ả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ă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iểm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oát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ô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tin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ày</a:t>
          </a:r>
          <a:endParaRPr lang="en-US" sz="2000" kern="1200" dirty="0">
            <a:solidFill>
              <a:srgbClr val="000000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2234131" y="-52964"/>
        <a:ext cx="6842266" cy="851985"/>
      </dsp:txXfrm>
    </dsp:sp>
    <dsp:sp modelId="{3D0FEDAF-EA20-064D-A49D-711A01DF23F8}">
      <dsp:nvSpPr>
        <dsp:cNvPr id="0" name=""/>
        <dsp:cNvSpPr/>
      </dsp:nvSpPr>
      <dsp:spPr>
        <a:xfrm>
          <a:off x="3670906" y="781189"/>
          <a:ext cx="5389954" cy="5389954"/>
        </a:xfrm>
        <a:custGeom>
          <a:avLst/>
          <a:gdLst/>
          <a:ahLst/>
          <a:cxnLst/>
          <a:rect l="0" t="0" r="0" b="0"/>
          <a:pathLst>
            <a:path>
              <a:moveTo>
                <a:pt x="3285355" y="65461"/>
              </a:moveTo>
              <a:arcTo wR="2694977" hR="2694977" stAng="16959252" swAng="886515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229594-22EF-BD49-A849-82B0DC5ED75E}">
      <dsp:nvSpPr>
        <dsp:cNvPr id="0" name=""/>
        <dsp:cNvSpPr/>
      </dsp:nvSpPr>
      <dsp:spPr>
        <a:xfrm>
          <a:off x="7487411" y="1087427"/>
          <a:ext cx="4704588" cy="1624144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2. Gia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ă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ích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ích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ình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ảnh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ối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ô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qua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uyền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ô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iện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ử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-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ay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ổi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ối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âm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(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dẫn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ới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ó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ăn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ọc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ập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)</a:t>
          </a:r>
        </a:p>
      </dsp:txBody>
      <dsp:txXfrm>
        <a:off x="7566695" y="1166711"/>
        <a:ext cx="4546020" cy="1465576"/>
      </dsp:txXfrm>
    </dsp:sp>
    <dsp:sp modelId="{564D0876-698D-FB42-AC5A-DA01EF6B128F}">
      <dsp:nvSpPr>
        <dsp:cNvPr id="0" name=""/>
        <dsp:cNvSpPr/>
      </dsp:nvSpPr>
      <dsp:spPr>
        <a:xfrm>
          <a:off x="5865887" y="-2262916"/>
          <a:ext cx="5389954" cy="5389954"/>
        </a:xfrm>
        <a:custGeom>
          <a:avLst/>
          <a:gdLst/>
          <a:ahLst/>
          <a:cxnLst/>
          <a:rect l="0" t="0" r="0" b="0"/>
          <a:pathLst>
            <a:path>
              <a:moveTo>
                <a:pt x="4130283" y="4975941"/>
              </a:moveTo>
              <a:arcTo wR="2694977" hR="2694977" stAng="3469180" swAng="34087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F18B855-C985-C54E-B4D8-713B921EB645}">
      <dsp:nvSpPr>
        <dsp:cNvPr id="0" name=""/>
        <dsp:cNvSpPr/>
      </dsp:nvSpPr>
      <dsp:spPr>
        <a:xfrm>
          <a:off x="7268292" y="2845121"/>
          <a:ext cx="4923707" cy="1501676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3. Gia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ă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ận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ấn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phẩm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iêu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dâm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[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a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ính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ạo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ực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gây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ấn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]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ên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ạ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ườ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rất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ít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ịnh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ướ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ới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iểu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ú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ắn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ề</a:t>
          </a:r>
          <a:r>
            <a:rPr lang="en-US" sz="2000" kern="1200" dirty="0">
              <a:solidFill>
                <a:srgbClr val="000000"/>
              </a:solidFill>
              <a:highlight>
                <a:srgbClr val="FFFF00"/>
              </a:highlight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highlight>
                <a:srgbClr val="FFFF00"/>
              </a:highlight>
              <a:latin typeface="Times New Roman" pitchFamily="18" charset="0"/>
              <a:cs typeface="Times New Roman" pitchFamily="18" charset="0"/>
            </a:rPr>
            <a:t>tình</a:t>
          </a:r>
          <a:r>
            <a:rPr lang="en-US" sz="2000" kern="1200" dirty="0">
              <a:solidFill>
                <a:srgbClr val="000000"/>
              </a:solidFill>
              <a:highlight>
                <a:srgbClr val="FFFF00"/>
              </a:highlight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highlight>
                <a:srgbClr val="FFFF00"/>
              </a:highlight>
              <a:latin typeface="Times New Roman" pitchFamily="18" charset="0"/>
              <a:cs typeface="Times New Roman" pitchFamily="18" charset="0"/>
            </a:rPr>
            <a:t>dục</a:t>
          </a:r>
          <a:endParaRPr lang="en-US" sz="2000" kern="1200" dirty="0">
            <a:solidFill>
              <a:srgbClr val="000000"/>
            </a:solidFill>
            <a:highlight>
              <a:srgbClr val="FFFF00"/>
            </a:highlight>
            <a:latin typeface="Times New Roman" pitchFamily="18" charset="0"/>
            <a:cs typeface="Times New Roman" pitchFamily="18" charset="0"/>
          </a:endParaRPr>
        </a:p>
      </dsp:txBody>
      <dsp:txXfrm>
        <a:off x="7341598" y="2918427"/>
        <a:ext cx="4777095" cy="1355064"/>
      </dsp:txXfrm>
    </dsp:sp>
    <dsp:sp modelId="{D78FD835-21EE-F041-9EBA-2E09CDD94A1E}">
      <dsp:nvSpPr>
        <dsp:cNvPr id="0" name=""/>
        <dsp:cNvSpPr/>
      </dsp:nvSpPr>
      <dsp:spPr>
        <a:xfrm>
          <a:off x="4198729" y="1155697"/>
          <a:ext cx="5389954" cy="5389954"/>
        </a:xfrm>
        <a:custGeom>
          <a:avLst/>
          <a:gdLst/>
          <a:ahLst/>
          <a:cxnLst/>
          <a:rect l="0" t="0" r="0" b="0"/>
          <a:pathLst>
            <a:path>
              <a:moveTo>
                <a:pt x="5343495" y="3193225"/>
              </a:moveTo>
              <a:arcTo wR="2694977" hR="2694977" stAng="639249" swAng="270367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F889D0-717D-8948-AE04-990264B99462}">
      <dsp:nvSpPr>
        <dsp:cNvPr id="0" name=""/>
        <dsp:cNvSpPr/>
      </dsp:nvSpPr>
      <dsp:spPr>
        <a:xfrm>
          <a:off x="6496214" y="4557551"/>
          <a:ext cx="5307489" cy="1260508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4. Gia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ă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(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ể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ất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ình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dục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)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ẫn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au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ử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dụ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ạ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xã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ội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ể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ắt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ạt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iêu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ích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au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.</a:t>
          </a:r>
        </a:p>
      </dsp:txBody>
      <dsp:txXfrm>
        <a:off x="6557747" y="4619084"/>
        <a:ext cx="5184423" cy="1137442"/>
      </dsp:txXfrm>
    </dsp:sp>
    <dsp:sp modelId="{2D98A949-2474-334D-9A89-114DA155865D}">
      <dsp:nvSpPr>
        <dsp:cNvPr id="0" name=""/>
        <dsp:cNvSpPr/>
      </dsp:nvSpPr>
      <dsp:spPr>
        <a:xfrm>
          <a:off x="3728068" y="1553630"/>
          <a:ext cx="5389954" cy="5389954"/>
        </a:xfrm>
        <a:custGeom>
          <a:avLst/>
          <a:gdLst/>
          <a:ahLst/>
          <a:cxnLst/>
          <a:rect l="0" t="0" r="0" b="0"/>
          <a:pathLst>
            <a:path>
              <a:moveTo>
                <a:pt x="4859964" y="4299886"/>
              </a:moveTo>
              <a:arcTo wR="2694977" hR="2694977" stAng="2192977" swAng="6426715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452F14-6E6D-8F49-9269-E3001B527C66}">
      <dsp:nvSpPr>
        <dsp:cNvPr id="0" name=""/>
        <dsp:cNvSpPr/>
      </dsp:nvSpPr>
      <dsp:spPr>
        <a:xfrm>
          <a:off x="1123890" y="4467805"/>
          <a:ext cx="4713739" cy="1342169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5.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ất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ãn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ất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ọ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u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ập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(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ghèo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)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ình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ám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dỗ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ời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ố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ô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ghệ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-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Iphone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áy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ính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ò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ơi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iện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ử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</a:p>
      </dsp:txBody>
      <dsp:txXfrm>
        <a:off x="1189409" y="4533324"/>
        <a:ext cx="4582701" cy="1211131"/>
      </dsp:txXfrm>
    </dsp:sp>
    <dsp:sp modelId="{879355CB-4FD8-5B41-8BD3-C61CC8A56166}">
      <dsp:nvSpPr>
        <dsp:cNvPr id="0" name=""/>
        <dsp:cNvSpPr/>
      </dsp:nvSpPr>
      <dsp:spPr>
        <a:xfrm>
          <a:off x="1239002" y="-775576"/>
          <a:ext cx="5389954" cy="5389954"/>
        </a:xfrm>
        <a:custGeom>
          <a:avLst/>
          <a:gdLst/>
          <a:ahLst/>
          <a:cxnLst/>
          <a:rect l="0" t="0" r="0" b="0"/>
          <a:pathLst>
            <a:path>
              <a:moveTo>
                <a:pt x="1812020" y="5241207"/>
              </a:moveTo>
              <a:arcTo wR="2694977" hR="2694977" stAng="6547502" swAng="835048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022AF2-40D2-1F4D-AD03-67778070A1B9}">
      <dsp:nvSpPr>
        <dsp:cNvPr id="0" name=""/>
        <dsp:cNvSpPr/>
      </dsp:nvSpPr>
      <dsp:spPr>
        <a:xfrm>
          <a:off x="0" y="2683975"/>
          <a:ext cx="4616810" cy="1490894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6. Gia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ă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ách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ức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ối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ai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ò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quyền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ạn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ổ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ức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xã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ội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ư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ình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à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à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ờ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...</a:t>
          </a:r>
        </a:p>
      </dsp:txBody>
      <dsp:txXfrm>
        <a:off x="72779" y="2756754"/>
        <a:ext cx="4471252" cy="1345336"/>
      </dsp:txXfrm>
    </dsp:sp>
    <dsp:sp modelId="{C5F0246F-9226-474F-AB76-B726BBF1CD52}">
      <dsp:nvSpPr>
        <dsp:cNvPr id="0" name=""/>
        <dsp:cNvSpPr/>
      </dsp:nvSpPr>
      <dsp:spPr>
        <a:xfrm>
          <a:off x="2185960" y="-821349"/>
          <a:ext cx="5389954" cy="5389954"/>
        </a:xfrm>
        <a:custGeom>
          <a:avLst/>
          <a:gdLst/>
          <a:ahLst/>
          <a:cxnLst/>
          <a:rect l="0" t="0" r="0" b="0"/>
          <a:pathLst>
            <a:path>
              <a:moveTo>
                <a:pt x="124173" y="3503598"/>
              </a:moveTo>
              <a:arcTo wR="2694977" hR="2694977" stAng="9752373" swAng="226315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433460-C091-2840-AA62-EB5290E6C844}">
      <dsp:nvSpPr>
        <dsp:cNvPr id="0" name=""/>
        <dsp:cNvSpPr/>
      </dsp:nvSpPr>
      <dsp:spPr>
        <a:xfrm>
          <a:off x="369421" y="1234627"/>
          <a:ext cx="4089108" cy="1274991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7.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ừa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ảo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ên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ạng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dẫn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ới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guy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ơ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ể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ị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uôn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án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óc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ột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US" sz="20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ại</a:t>
          </a:r>
          <a:endParaRPr lang="en-US" sz="2000" kern="1200" dirty="0">
            <a:solidFill>
              <a:srgbClr val="000000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431661" y="1296867"/>
        <a:ext cx="3964628" cy="1150511"/>
      </dsp:txXfrm>
    </dsp:sp>
    <dsp:sp modelId="{7201D132-1141-5444-8D80-9B7631DB6C3D}">
      <dsp:nvSpPr>
        <dsp:cNvPr id="0" name=""/>
        <dsp:cNvSpPr/>
      </dsp:nvSpPr>
      <dsp:spPr>
        <a:xfrm>
          <a:off x="2632868" y="754406"/>
          <a:ext cx="5389954" cy="5389954"/>
        </a:xfrm>
        <a:custGeom>
          <a:avLst/>
          <a:gdLst/>
          <a:ahLst/>
          <a:cxnLst/>
          <a:rect l="0" t="0" r="0" b="0"/>
          <a:pathLst>
            <a:path>
              <a:moveTo>
                <a:pt x="1167113" y="474947"/>
              </a:moveTo>
              <a:arcTo wR="2694977" hR="2694977" stAng="14127813" swAng="1165909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F347D9-6CC7-4C4F-82D2-E9CA661146F4}">
      <dsp:nvSpPr>
        <dsp:cNvPr id="0" name=""/>
        <dsp:cNvSpPr/>
      </dsp:nvSpPr>
      <dsp:spPr>
        <a:xfrm>
          <a:off x="2217170" y="-3123963"/>
          <a:ext cx="8949917" cy="8949917"/>
        </a:xfrm>
        <a:prstGeom prst="circularArrow">
          <a:avLst>
            <a:gd name="adj1" fmla="val 3426"/>
            <a:gd name="adj2" fmla="val 194846"/>
            <a:gd name="adj3" fmla="val 10261379"/>
            <a:gd name="adj4" fmla="val -1375099"/>
            <a:gd name="adj5" fmla="val 3558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8B7294B-BBEE-A34B-AF25-0F9A3F7611A9}">
      <dsp:nvSpPr>
        <dsp:cNvPr id="0" name=""/>
        <dsp:cNvSpPr/>
      </dsp:nvSpPr>
      <dsp:spPr>
        <a:xfrm>
          <a:off x="1906716" y="2129"/>
          <a:ext cx="8324816" cy="1128810"/>
        </a:xfrm>
        <a:prstGeom prst="roundRect">
          <a:avLst/>
        </a:prstGeom>
        <a:solidFill>
          <a:schemeClr val="bg1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ghèo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ói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iếu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u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ập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à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ở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giáo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dục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y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ế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ằm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o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ách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ầu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ủ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phù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iển</a:t>
          </a:r>
          <a:endParaRPr lang="en-US" sz="2400" kern="1200" dirty="0">
            <a:solidFill>
              <a:srgbClr val="000000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1961820" y="57233"/>
        <a:ext cx="8214608" cy="1018602"/>
      </dsp:txXfrm>
    </dsp:sp>
    <dsp:sp modelId="{62EBC565-F470-DA4B-B692-56A5D85215DF}">
      <dsp:nvSpPr>
        <dsp:cNvPr id="0" name=""/>
        <dsp:cNvSpPr/>
      </dsp:nvSpPr>
      <dsp:spPr>
        <a:xfrm>
          <a:off x="7705413" y="1408651"/>
          <a:ext cx="4253221" cy="1128810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Gia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ình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y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án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ị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xáo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ộn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(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í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dụ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cha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ẹ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ơn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ân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)</a:t>
          </a:r>
        </a:p>
      </dsp:txBody>
      <dsp:txXfrm>
        <a:off x="7760517" y="1463755"/>
        <a:ext cx="4143013" cy="1018602"/>
      </dsp:txXfrm>
    </dsp:sp>
    <dsp:sp modelId="{EA2A4E4F-1E48-954B-B47E-66A7ACFEDD86}">
      <dsp:nvSpPr>
        <dsp:cNvPr id="0" name=""/>
        <dsp:cNvSpPr/>
      </dsp:nvSpPr>
      <dsp:spPr>
        <a:xfrm>
          <a:off x="8017627" y="3134715"/>
          <a:ext cx="3926001" cy="1128810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ạo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ực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ình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ứng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iến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ạo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ực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xảy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ra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ình</a:t>
          </a:r>
          <a:endParaRPr lang="en-US" sz="2400" kern="1200" dirty="0">
            <a:solidFill>
              <a:srgbClr val="000000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8072731" y="3189819"/>
        <a:ext cx="3815793" cy="1018602"/>
      </dsp:txXfrm>
    </dsp:sp>
    <dsp:sp modelId="{A65A196A-B7B5-0C47-BC31-EAAEA3FDA95D}">
      <dsp:nvSpPr>
        <dsp:cNvPr id="0" name=""/>
        <dsp:cNvSpPr/>
      </dsp:nvSpPr>
      <dsp:spPr>
        <a:xfrm>
          <a:off x="3762265" y="4719868"/>
          <a:ext cx="4613717" cy="1128810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ác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ộng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ma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úy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rượu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ia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ên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ời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ống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ình</a:t>
          </a:r>
          <a:endParaRPr lang="en-US" sz="2400" kern="1200" dirty="0">
            <a:solidFill>
              <a:srgbClr val="000000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3817369" y="4774972"/>
        <a:ext cx="4503509" cy="1018602"/>
      </dsp:txXfrm>
    </dsp:sp>
    <dsp:sp modelId="{83EDB9D3-FA67-7E46-9D31-00330C4DC99F}">
      <dsp:nvSpPr>
        <dsp:cNvPr id="0" name=""/>
        <dsp:cNvSpPr/>
      </dsp:nvSpPr>
      <dsp:spPr>
        <a:xfrm>
          <a:off x="129586" y="3078601"/>
          <a:ext cx="4385562" cy="1128810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a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ẹ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i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xuất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ẩu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lao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ộng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ể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ở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à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dưới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ác</a:t>
          </a:r>
          <a:endParaRPr lang="en-US" sz="2400" kern="1200" dirty="0">
            <a:solidFill>
              <a:srgbClr val="000000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184690" y="3133705"/>
        <a:ext cx="4275354" cy="1018602"/>
      </dsp:txXfrm>
    </dsp:sp>
    <dsp:sp modelId="{87CE9B25-1479-AE43-8D89-E7DA99D4B5CF}">
      <dsp:nvSpPr>
        <dsp:cNvPr id="0" name=""/>
        <dsp:cNvSpPr/>
      </dsp:nvSpPr>
      <dsp:spPr>
        <a:xfrm>
          <a:off x="0" y="1408653"/>
          <a:ext cx="3904915" cy="1128810"/>
        </a:xfrm>
        <a:prstGeom prst="roundRect">
          <a:avLst/>
        </a:prstGeom>
        <a:solidFill>
          <a:srgbClr val="FFFFFF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guy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ơ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ị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ối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uyết</a:t>
          </a:r>
          <a:r>
            <a:rPr lang="en-US" sz="24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ật</a:t>
          </a:r>
          <a:endParaRPr lang="en-US" sz="2400" kern="1200" dirty="0">
            <a:solidFill>
              <a:srgbClr val="000000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55104" y="1463757"/>
        <a:ext cx="3794707" cy="1018602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B1ADA2-DE9F-1B4D-B6A9-DD5684B5514B}">
      <dsp:nvSpPr>
        <dsp:cNvPr id="0" name=""/>
        <dsp:cNvSpPr/>
      </dsp:nvSpPr>
      <dsp:spPr>
        <a:xfrm>
          <a:off x="146622" y="133105"/>
          <a:ext cx="4877929" cy="885643"/>
        </a:xfrm>
        <a:prstGeom prst="roundRect">
          <a:avLst>
            <a:gd name="adj" fmla="val 10000"/>
          </a:avLst>
        </a:prstGeom>
        <a:solidFill>
          <a:schemeClr val="bg1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u="sng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h</a:t>
          </a:r>
          <a:r>
            <a:rPr lang="en-US" sz="2800" u="sng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vi </a:t>
          </a:r>
          <a:r>
            <a:rPr lang="en-US" sz="2800" u="sng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ủ</a:t>
          </a:r>
          <a:r>
            <a:rPr lang="en-US" sz="2800" u="sng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sng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ích</a:t>
          </a:r>
          <a:r>
            <a:rPr lang="en-US" sz="2800" u="sng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–  </a:t>
          </a:r>
          <a:r>
            <a:rPr lang="en-US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ủ</a:t>
          </a:r>
          <a:r>
            <a:rPr lang="en-US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ịnh</a:t>
          </a:r>
          <a:r>
            <a:rPr lang="en-US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ây</a:t>
          </a:r>
          <a:r>
            <a:rPr lang="en-US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ổn</a:t>
          </a:r>
          <a:r>
            <a:rPr lang="en-US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ương</a:t>
          </a:r>
          <a:r>
            <a:rPr lang="en-US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endParaRPr lang="en-US" sz="2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172562" y="159045"/>
        <a:ext cx="4826049" cy="833763"/>
      </dsp:txXfrm>
    </dsp:sp>
    <dsp:sp modelId="{41610C58-13E3-1649-ADD4-763D3A673CB8}">
      <dsp:nvSpPr>
        <dsp:cNvPr id="0" name=""/>
        <dsp:cNvSpPr/>
      </dsp:nvSpPr>
      <dsp:spPr>
        <a:xfrm>
          <a:off x="634415" y="1018748"/>
          <a:ext cx="487792" cy="5356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35646"/>
              </a:lnTo>
              <a:lnTo>
                <a:pt x="487792" y="535646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657768-A86E-9349-8697-7D9407483549}">
      <dsp:nvSpPr>
        <dsp:cNvPr id="0" name=""/>
        <dsp:cNvSpPr/>
      </dsp:nvSpPr>
      <dsp:spPr>
        <a:xfrm>
          <a:off x="1122208" y="1111573"/>
          <a:ext cx="2080426" cy="8856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nhận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thức</a:t>
          </a:r>
          <a:endParaRPr lang="en-US" sz="28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1148148" y="1137513"/>
        <a:ext cx="2028546" cy="833763"/>
      </dsp:txXfrm>
    </dsp:sp>
    <dsp:sp modelId="{684FC0AB-70DB-9D4A-BFB8-99E388076DCB}">
      <dsp:nvSpPr>
        <dsp:cNvPr id="0" name=""/>
        <dsp:cNvSpPr/>
      </dsp:nvSpPr>
      <dsp:spPr>
        <a:xfrm>
          <a:off x="634415" y="1018748"/>
          <a:ext cx="487792" cy="164270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42700"/>
              </a:lnTo>
              <a:lnTo>
                <a:pt x="487792" y="164270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4E12AB9-3B06-6344-B53C-69A608727D0F}">
      <dsp:nvSpPr>
        <dsp:cNvPr id="0" name=""/>
        <dsp:cNvSpPr/>
      </dsp:nvSpPr>
      <dsp:spPr>
        <a:xfrm>
          <a:off x="1122208" y="2218627"/>
          <a:ext cx="1417029" cy="8856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kế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hoạch</a:t>
          </a:r>
          <a:endParaRPr lang="en-US" sz="28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1148148" y="2244567"/>
        <a:ext cx="1365149" cy="833763"/>
      </dsp:txXfrm>
    </dsp:sp>
    <dsp:sp modelId="{CEC1EB22-082E-8147-BD08-3265355CB90B}">
      <dsp:nvSpPr>
        <dsp:cNvPr id="0" name=""/>
        <dsp:cNvSpPr/>
      </dsp:nvSpPr>
      <dsp:spPr>
        <a:xfrm>
          <a:off x="634415" y="1018748"/>
          <a:ext cx="487792" cy="274975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49755"/>
              </a:lnTo>
              <a:lnTo>
                <a:pt x="487792" y="2749755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0C755F-A00B-9346-AE7B-6EC576FED9AA}">
      <dsp:nvSpPr>
        <dsp:cNvPr id="0" name=""/>
        <dsp:cNvSpPr/>
      </dsp:nvSpPr>
      <dsp:spPr>
        <a:xfrm>
          <a:off x="1122208" y="3325682"/>
          <a:ext cx="1417029" cy="8856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Chủ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tâm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gây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hại</a:t>
          </a:r>
          <a:endParaRPr lang="en-US" sz="28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1148148" y="3351622"/>
        <a:ext cx="1365149" cy="833763"/>
      </dsp:txXfrm>
    </dsp:sp>
    <dsp:sp modelId="{D1C11FDC-0A29-7D4F-AB22-C2DFAEA6985B}">
      <dsp:nvSpPr>
        <dsp:cNvPr id="0" name=""/>
        <dsp:cNvSpPr/>
      </dsp:nvSpPr>
      <dsp:spPr>
        <a:xfrm>
          <a:off x="634415" y="1018748"/>
          <a:ext cx="487792" cy="385680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56809"/>
              </a:lnTo>
              <a:lnTo>
                <a:pt x="487792" y="3856809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B927F4-B599-6949-8A31-39754CDF03F4}">
      <dsp:nvSpPr>
        <dsp:cNvPr id="0" name=""/>
        <dsp:cNvSpPr/>
      </dsp:nvSpPr>
      <dsp:spPr>
        <a:xfrm>
          <a:off x="1122208" y="4432736"/>
          <a:ext cx="1973936" cy="8856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Lặp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lại</a:t>
          </a:r>
          <a:endParaRPr lang="en-US" sz="28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1148148" y="4458676"/>
        <a:ext cx="1922056" cy="833763"/>
      </dsp:txXfrm>
    </dsp:sp>
    <dsp:sp modelId="{F080E198-D1AE-3041-8A3E-34B305A1FF8D}">
      <dsp:nvSpPr>
        <dsp:cNvPr id="0" name=""/>
        <dsp:cNvSpPr/>
      </dsp:nvSpPr>
      <dsp:spPr>
        <a:xfrm>
          <a:off x="6129339" y="116844"/>
          <a:ext cx="5936061" cy="885643"/>
        </a:xfrm>
        <a:prstGeom prst="roundRect">
          <a:avLst>
            <a:gd name="adj" fmla="val 10000"/>
          </a:avLst>
        </a:prstGeom>
        <a:solidFill>
          <a:schemeClr val="bg1"/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u="sng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h</a:t>
          </a:r>
          <a:r>
            <a:rPr lang="en-US" sz="2800" u="sng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vi </a:t>
          </a:r>
          <a:r>
            <a:rPr lang="en-US" sz="2800" u="sng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US" sz="2800" u="sng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sng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ủ</a:t>
          </a:r>
          <a:r>
            <a:rPr lang="en-US" sz="2800" u="sng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sng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ích</a:t>
          </a:r>
          <a:r>
            <a:rPr lang="en-US" sz="2800" u="none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- </a:t>
          </a:r>
          <a:r>
            <a:rPr lang="en-US" sz="2800" u="none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h</a:t>
          </a:r>
          <a:r>
            <a:rPr lang="en-US" sz="2800" u="none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ng</a:t>
          </a:r>
          <a:r>
            <a:rPr lang="en-US" sz="2800" u="none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US" sz="2800" u="none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ủ</a:t>
          </a:r>
          <a:r>
            <a:rPr lang="en-US" sz="2800" u="none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ịnh</a:t>
          </a:r>
          <a:r>
            <a:rPr lang="en-US" sz="2800" u="none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ưng</a:t>
          </a:r>
          <a:r>
            <a:rPr lang="en-US" sz="2800" u="none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ết</a:t>
          </a:r>
          <a:r>
            <a:rPr lang="en-US" sz="2800" u="none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ả</a:t>
          </a:r>
          <a:r>
            <a:rPr lang="en-US" sz="2800" u="none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ây</a:t>
          </a:r>
          <a:r>
            <a:rPr lang="en-US" sz="2800" u="none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ổn</a:t>
          </a:r>
          <a:r>
            <a:rPr lang="en-US" sz="2800" u="none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ương</a:t>
          </a:r>
          <a:r>
            <a:rPr lang="en-US" sz="2800" u="none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o</a:t>
          </a:r>
          <a:r>
            <a:rPr lang="en-US" sz="2800" u="none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u="none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endParaRPr lang="en-US" sz="2400" u="none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6155279" y="142784"/>
        <a:ext cx="5884181" cy="833763"/>
      </dsp:txXfrm>
    </dsp:sp>
    <dsp:sp modelId="{920887B5-2AED-744B-A684-77ADC6AAC91A}">
      <dsp:nvSpPr>
        <dsp:cNvPr id="0" name=""/>
        <dsp:cNvSpPr/>
      </dsp:nvSpPr>
      <dsp:spPr>
        <a:xfrm>
          <a:off x="6722945" y="1002488"/>
          <a:ext cx="853177" cy="53927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39277"/>
              </a:lnTo>
              <a:lnTo>
                <a:pt x="853177" y="539277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D4852DA-42D9-324A-9243-C4A70926C0A3}">
      <dsp:nvSpPr>
        <dsp:cNvPr id="0" name=""/>
        <dsp:cNvSpPr/>
      </dsp:nvSpPr>
      <dsp:spPr>
        <a:xfrm>
          <a:off x="7576123" y="1098943"/>
          <a:ext cx="2382962" cy="8856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Vô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thức</a:t>
          </a:r>
          <a:endParaRPr lang="en-US" sz="28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7602063" y="1124883"/>
        <a:ext cx="2331082" cy="833763"/>
      </dsp:txXfrm>
    </dsp:sp>
    <dsp:sp modelId="{3EFB242E-A78A-2F4A-A283-46FB88477260}">
      <dsp:nvSpPr>
        <dsp:cNvPr id="0" name=""/>
        <dsp:cNvSpPr/>
      </dsp:nvSpPr>
      <dsp:spPr>
        <a:xfrm>
          <a:off x="6722945" y="1002488"/>
          <a:ext cx="1282381" cy="164633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46331"/>
              </a:lnTo>
              <a:lnTo>
                <a:pt x="1282381" y="1646331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7BF3E6-E5F4-8C48-A452-7D964276D34B}">
      <dsp:nvSpPr>
        <dsp:cNvPr id="0" name=""/>
        <dsp:cNvSpPr/>
      </dsp:nvSpPr>
      <dsp:spPr>
        <a:xfrm>
          <a:off x="8005327" y="2205998"/>
          <a:ext cx="1945000" cy="8856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Không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kế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hoạch</a:t>
          </a:r>
          <a:endParaRPr lang="en-US" sz="28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8031267" y="2231938"/>
        <a:ext cx="1893120" cy="833763"/>
      </dsp:txXfrm>
    </dsp:sp>
    <dsp:sp modelId="{477EAA64-9FD7-5443-BB66-242852FDD742}">
      <dsp:nvSpPr>
        <dsp:cNvPr id="0" name=""/>
        <dsp:cNvSpPr/>
      </dsp:nvSpPr>
      <dsp:spPr>
        <a:xfrm>
          <a:off x="6722945" y="1002488"/>
          <a:ext cx="840551" cy="27155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15516"/>
              </a:lnTo>
              <a:lnTo>
                <a:pt x="840551" y="2715516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32E2542-6918-0A49-860C-3425D2131E06}">
      <dsp:nvSpPr>
        <dsp:cNvPr id="0" name=""/>
        <dsp:cNvSpPr/>
      </dsp:nvSpPr>
      <dsp:spPr>
        <a:xfrm>
          <a:off x="7563497" y="3275182"/>
          <a:ext cx="3701139" cy="88564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Không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chủ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đích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gây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hại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trẻ</a:t>
          </a:r>
          <a:endParaRPr lang="en-US" sz="28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7589437" y="3301122"/>
        <a:ext cx="3649259" cy="833763"/>
      </dsp:txXfrm>
    </dsp:sp>
    <dsp:sp modelId="{62AFD5D4-2409-134C-B1CA-21C6DF6265BC}">
      <dsp:nvSpPr>
        <dsp:cNvPr id="0" name=""/>
        <dsp:cNvSpPr/>
      </dsp:nvSpPr>
      <dsp:spPr>
        <a:xfrm>
          <a:off x="6677225" y="1002488"/>
          <a:ext cx="91440" cy="411003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110030"/>
              </a:lnTo>
              <a:lnTo>
                <a:pt x="123983" y="411003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3B6F471-EDF7-D544-8961-46F7105D2035}">
      <dsp:nvSpPr>
        <dsp:cNvPr id="0" name=""/>
        <dsp:cNvSpPr/>
      </dsp:nvSpPr>
      <dsp:spPr>
        <a:xfrm>
          <a:off x="6801208" y="4437255"/>
          <a:ext cx="5290778" cy="135052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35560" rIns="5334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Ảnh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hưởng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bởi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cảm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xúc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(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tức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giận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,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buồn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,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thất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vọng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)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dẫn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tới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latin typeface="Times New Roman" pitchFamily="18" charset="0"/>
              <a:cs typeface="Times New Roman" pitchFamily="18" charset="0"/>
            </a:rPr>
            <a:t>hành</a:t>
          </a:r>
          <a:r>
            <a:rPr lang="en-US" sz="2800" kern="1200" dirty="0">
              <a:latin typeface="Times New Roman" pitchFamily="18" charset="0"/>
              <a:cs typeface="Times New Roman" pitchFamily="18" charset="0"/>
            </a:rPr>
            <a:t> vi</a:t>
          </a:r>
        </a:p>
      </dsp:txBody>
      <dsp:txXfrm>
        <a:off x="6840764" y="4476811"/>
        <a:ext cx="5211666" cy="1271414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9826F3-AE58-BA44-AD47-5394C0CEE369}">
      <dsp:nvSpPr>
        <dsp:cNvPr id="0" name=""/>
        <dsp:cNvSpPr/>
      </dsp:nvSpPr>
      <dsp:spPr>
        <a:xfrm>
          <a:off x="905827" y="0"/>
          <a:ext cx="10266045" cy="611505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601183-8C2B-D143-910F-E32195704AD6}">
      <dsp:nvSpPr>
        <dsp:cNvPr id="0" name=""/>
        <dsp:cNvSpPr/>
      </dsp:nvSpPr>
      <dsp:spPr>
        <a:xfrm>
          <a:off x="78223" y="223174"/>
          <a:ext cx="3999213" cy="5668700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IỆN TẠI	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ự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ế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ậ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ả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ự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ảy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ê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í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ế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ầ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í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ế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ươ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ừ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ố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ì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ả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â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é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Ý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hĩ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ứ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ồ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ứ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yê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ươ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ứ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mong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ợ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ứ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iế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ự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ệ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â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ứ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yề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ă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ai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úp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ỡ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ẽ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ị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ấ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á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endParaRPr lang="en-GB" sz="2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273448" y="418399"/>
        <a:ext cx="3608763" cy="5278250"/>
      </dsp:txXfrm>
    </dsp:sp>
    <dsp:sp modelId="{7B5AF08E-0426-774D-B0DC-90AAE2F1BF5A}">
      <dsp:nvSpPr>
        <dsp:cNvPr id="0" name=""/>
        <dsp:cNvSpPr/>
      </dsp:nvSpPr>
      <dsp:spPr>
        <a:xfrm>
          <a:off x="4479044" y="996850"/>
          <a:ext cx="3559412" cy="4121348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ƯƠNG LAI 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ạo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ỏ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ặ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iế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ấy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ì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ả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ố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ai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yê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ươ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ì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ì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ẽ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à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ô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uộ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ố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ai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â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ì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ấ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ại</a:t>
          </a:r>
          <a:endParaRPr lang="en-GB" sz="2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4652800" y="1170606"/>
        <a:ext cx="3211900" cy="3773836"/>
      </dsp:txXfrm>
    </dsp:sp>
    <dsp:sp modelId="{E8D4B037-EB3B-8244-8D6E-D9636B5DE22F}">
      <dsp:nvSpPr>
        <dsp:cNvPr id="0" name=""/>
        <dsp:cNvSpPr/>
      </dsp:nvSpPr>
      <dsp:spPr>
        <a:xfrm>
          <a:off x="8440064" y="380221"/>
          <a:ext cx="3559412" cy="5354606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ậ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ả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iệ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ạ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ươ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a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ạo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ỏ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ặ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iế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ị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ả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ưở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ứ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ă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: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iể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ão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ộ</a:t>
          </a:r>
          <a:endParaRPr lang="en-GB" sz="2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iể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ể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ất</a:t>
          </a:r>
          <a:endParaRPr lang="en-GB" sz="2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iể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â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ý</a:t>
          </a:r>
          <a:endParaRPr lang="en-GB" sz="2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iể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úc</a:t>
          </a:r>
          <a:endParaRPr lang="en-GB" sz="2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iể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ã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ội</a:t>
          </a:r>
          <a:endParaRPr lang="en-GB" sz="2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iể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ạo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ức</a:t>
          </a:r>
          <a:endParaRPr lang="en-GB" sz="2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8613820" y="553977"/>
        <a:ext cx="3211900" cy="5007094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9F081A-9C93-714A-9D53-8FD7AC310083}">
      <dsp:nvSpPr>
        <dsp:cNvPr id="0" name=""/>
        <dsp:cNvSpPr/>
      </dsp:nvSpPr>
      <dsp:spPr>
        <a:xfrm>
          <a:off x="4820923" y="2616"/>
          <a:ext cx="2703550" cy="1361777"/>
        </a:xfrm>
        <a:prstGeom prst="ellipse">
          <a:avLst/>
        </a:prstGeom>
        <a:solidFill>
          <a:srgbClr val="FFC000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1.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ể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ất</a:t>
          </a:r>
          <a:endParaRPr lang="en-GB" sz="28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5216849" y="202044"/>
        <a:ext cx="1911698" cy="962921"/>
      </dsp:txXfrm>
    </dsp:sp>
    <dsp:sp modelId="{614B1740-C3FD-CD47-863D-ED03819261FD}">
      <dsp:nvSpPr>
        <dsp:cNvPr id="0" name=""/>
        <dsp:cNvSpPr/>
      </dsp:nvSpPr>
      <dsp:spPr>
        <a:xfrm rot="722338">
          <a:off x="7645138" y="829189"/>
          <a:ext cx="576363" cy="4595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800" kern="1200" dirty="0">
            <a:solidFill>
              <a:schemeClr val="tx1"/>
            </a:solidFill>
          </a:endParaRPr>
        </a:p>
      </dsp:txBody>
      <dsp:txXfrm>
        <a:off x="7646654" y="906730"/>
        <a:ext cx="438483" cy="275759"/>
      </dsp:txXfrm>
    </dsp:sp>
    <dsp:sp modelId="{3ACE08CE-34B9-174A-A368-96A21ABAC5C7}">
      <dsp:nvSpPr>
        <dsp:cNvPr id="0" name=""/>
        <dsp:cNvSpPr/>
      </dsp:nvSpPr>
      <dsp:spPr>
        <a:xfrm>
          <a:off x="8379044" y="756543"/>
          <a:ext cx="2657549" cy="1361777"/>
        </a:xfrm>
        <a:prstGeom prst="ellipse">
          <a:avLst/>
        </a:prstGeom>
        <a:solidFill>
          <a:srgbClr val="FFC000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2.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âm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ý</a:t>
          </a:r>
          <a:endParaRPr lang="en-GB" sz="28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8768233" y="955971"/>
        <a:ext cx="1879171" cy="962921"/>
      </dsp:txXfrm>
    </dsp:sp>
    <dsp:sp modelId="{9DBEE9A4-ECB8-6740-AA71-78AB30192A7E}">
      <dsp:nvSpPr>
        <dsp:cNvPr id="0" name=""/>
        <dsp:cNvSpPr/>
      </dsp:nvSpPr>
      <dsp:spPr>
        <a:xfrm rot="5338643">
          <a:off x="9600668" y="2114178"/>
          <a:ext cx="246665" cy="4595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800" kern="1200" dirty="0">
            <a:solidFill>
              <a:schemeClr val="tx1"/>
            </a:solidFill>
          </a:endParaRPr>
        </a:p>
      </dsp:txBody>
      <dsp:txXfrm>
        <a:off x="9637007" y="2169104"/>
        <a:ext cx="172666" cy="275759"/>
      </dsp:txXfrm>
    </dsp:sp>
    <dsp:sp modelId="{C6FDA69A-8734-474B-B8E9-0F130981912F}">
      <dsp:nvSpPr>
        <dsp:cNvPr id="0" name=""/>
        <dsp:cNvSpPr/>
      </dsp:nvSpPr>
      <dsp:spPr>
        <a:xfrm>
          <a:off x="8436148" y="2583594"/>
          <a:ext cx="2608566" cy="1361777"/>
        </a:xfrm>
        <a:prstGeom prst="ellipse">
          <a:avLst/>
        </a:prstGeom>
        <a:solidFill>
          <a:srgbClr val="FFC000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3.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ình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m</a:t>
          </a:r>
          <a:endParaRPr lang="en-GB" sz="28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8818164" y="2783022"/>
        <a:ext cx="1844534" cy="962921"/>
      </dsp:txXfrm>
    </dsp:sp>
    <dsp:sp modelId="{42B93B6F-096F-6C4F-A8CF-114858D2480F}">
      <dsp:nvSpPr>
        <dsp:cNvPr id="0" name=""/>
        <dsp:cNvSpPr/>
      </dsp:nvSpPr>
      <dsp:spPr>
        <a:xfrm rot="8599842">
          <a:off x="8138673" y="3969937"/>
          <a:ext cx="691230" cy="4595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800" kern="1200" dirty="0">
            <a:solidFill>
              <a:schemeClr val="tx1"/>
            </a:solidFill>
          </a:endParaRPr>
        </a:p>
      </dsp:txBody>
      <dsp:txXfrm rot="10800000">
        <a:off x="8262909" y="4020686"/>
        <a:ext cx="553350" cy="275759"/>
      </dsp:txXfrm>
    </dsp:sp>
    <dsp:sp modelId="{97C90009-F7DD-ED48-A81E-338D7C417BBB}">
      <dsp:nvSpPr>
        <dsp:cNvPr id="0" name=""/>
        <dsp:cNvSpPr/>
      </dsp:nvSpPr>
      <dsp:spPr>
        <a:xfrm>
          <a:off x="5877813" y="4479191"/>
          <a:ext cx="2633268" cy="1361777"/>
        </a:xfrm>
        <a:prstGeom prst="ellipse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4.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ình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c</a:t>
          </a:r>
          <a:endParaRPr lang="en-GB" sz="28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6263446" y="4678619"/>
        <a:ext cx="1862002" cy="962921"/>
      </dsp:txXfrm>
    </dsp:sp>
    <dsp:sp modelId="{644D70A1-182C-A743-BAE2-715AAA80BA43}">
      <dsp:nvSpPr>
        <dsp:cNvPr id="0" name=""/>
        <dsp:cNvSpPr/>
      </dsp:nvSpPr>
      <dsp:spPr>
        <a:xfrm rot="10797504">
          <a:off x="5336809" y="4931490"/>
          <a:ext cx="382310" cy="4595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800" kern="1200" dirty="0">
            <a:solidFill>
              <a:schemeClr val="tx1"/>
            </a:solidFill>
          </a:endParaRPr>
        </a:p>
      </dsp:txBody>
      <dsp:txXfrm rot="10800000">
        <a:off x="5451502" y="5023368"/>
        <a:ext cx="267617" cy="275759"/>
      </dsp:txXfrm>
    </dsp:sp>
    <dsp:sp modelId="{62B25CB5-1AAF-4D45-A38F-6A1BA3D7D532}">
      <dsp:nvSpPr>
        <dsp:cNvPr id="0" name=""/>
        <dsp:cNvSpPr/>
      </dsp:nvSpPr>
      <dsp:spPr>
        <a:xfrm>
          <a:off x="2024606" y="4481808"/>
          <a:ext cx="3131870" cy="1361777"/>
        </a:xfrm>
        <a:prstGeom prst="ellipse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5.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ứng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iến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ạo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ực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ình</a:t>
          </a:r>
          <a:endParaRPr lang="en-GB" sz="28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2483258" y="4681236"/>
        <a:ext cx="2214566" cy="962921"/>
      </dsp:txXfrm>
    </dsp:sp>
    <dsp:sp modelId="{2F9E614F-8ABD-1A49-BA16-33F7D60BAA29}">
      <dsp:nvSpPr>
        <dsp:cNvPr id="0" name=""/>
        <dsp:cNvSpPr/>
      </dsp:nvSpPr>
      <dsp:spPr>
        <a:xfrm rot="14492597">
          <a:off x="2752342" y="3858449"/>
          <a:ext cx="511744" cy="4595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800" kern="1200" dirty="0">
            <a:solidFill>
              <a:schemeClr val="tx1"/>
            </a:solidFill>
          </a:endParaRPr>
        </a:p>
      </dsp:txBody>
      <dsp:txXfrm rot="10800000">
        <a:off x="2854132" y="4010979"/>
        <a:ext cx="373864" cy="275759"/>
      </dsp:txXfrm>
    </dsp:sp>
    <dsp:sp modelId="{3B02F32D-BBE9-424F-ACC7-FF1156472B4C}">
      <dsp:nvSpPr>
        <dsp:cNvPr id="0" name=""/>
        <dsp:cNvSpPr/>
      </dsp:nvSpPr>
      <dsp:spPr>
        <a:xfrm>
          <a:off x="955851" y="2310114"/>
          <a:ext cx="2915361" cy="1361777"/>
        </a:xfrm>
        <a:prstGeom prst="ellipse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6.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óc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ột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lao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ng</a:t>
          </a:r>
          <a:endParaRPr lang="en-GB" sz="28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1382796" y="2509542"/>
        <a:ext cx="2061471" cy="962921"/>
      </dsp:txXfrm>
    </dsp:sp>
    <dsp:sp modelId="{2FFC5B96-3C5D-514D-8FB2-BDF483A5BB9D}">
      <dsp:nvSpPr>
        <dsp:cNvPr id="0" name=""/>
        <dsp:cNvSpPr/>
      </dsp:nvSpPr>
      <dsp:spPr>
        <a:xfrm rot="17040773">
          <a:off x="2486921" y="1780686"/>
          <a:ext cx="342629" cy="4595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800" kern="1200" dirty="0">
            <a:solidFill>
              <a:schemeClr val="tx1"/>
            </a:solidFill>
          </a:endParaRPr>
        </a:p>
      </dsp:txBody>
      <dsp:txXfrm>
        <a:off x="2525871" y="1922471"/>
        <a:ext cx="239840" cy="275759"/>
      </dsp:txXfrm>
    </dsp:sp>
    <dsp:sp modelId="{D8A23B51-65F6-4F93-9153-3005C755D867}">
      <dsp:nvSpPr>
        <dsp:cNvPr id="0" name=""/>
        <dsp:cNvSpPr/>
      </dsp:nvSpPr>
      <dsp:spPr>
        <a:xfrm>
          <a:off x="1796906" y="333526"/>
          <a:ext cx="2219833" cy="13617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 err="1">
              <a:latin typeface="Times New Roman" pitchFamily="18" charset="0"/>
              <a:cs typeface="Times New Roman" pitchFamily="18" charset="0"/>
            </a:rPr>
            <a:t>Xao</a:t>
          </a:r>
          <a:r>
            <a:rPr lang="en-US" sz="33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300" kern="1200" dirty="0" err="1">
              <a:latin typeface="Times New Roman" pitchFamily="18" charset="0"/>
              <a:cs typeface="Times New Roman" pitchFamily="18" charset="0"/>
            </a:rPr>
            <a:t>nhãng</a:t>
          </a:r>
          <a:endParaRPr lang="en-US" sz="33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121993" y="532954"/>
        <a:ext cx="1569659" cy="962921"/>
      </dsp:txXfrm>
    </dsp:sp>
    <dsp:sp modelId="{D159B80E-028F-4A5F-ABFB-D676B90DE181}">
      <dsp:nvSpPr>
        <dsp:cNvPr id="0" name=""/>
        <dsp:cNvSpPr/>
      </dsp:nvSpPr>
      <dsp:spPr>
        <a:xfrm rot="21252861">
          <a:off x="4186780" y="632105"/>
          <a:ext cx="450445" cy="45959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200" kern="1200"/>
        </a:p>
      </dsp:txBody>
      <dsp:txXfrm>
        <a:off x="4187124" y="730836"/>
        <a:ext cx="315312" cy="275759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E9452B-67F1-2A43-B452-AA2B7915AC32}">
      <dsp:nvSpPr>
        <dsp:cNvPr id="0" name=""/>
        <dsp:cNvSpPr/>
      </dsp:nvSpPr>
      <dsp:spPr>
        <a:xfrm>
          <a:off x="7894794" y="4276926"/>
          <a:ext cx="91440" cy="50019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00191"/>
              </a:lnTo>
            </a:path>
          </a:pathLst>
        </a:custGeom>
        <a:noFill/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9CE97F-DBED-C440-BA5E-C44394FED584}">
      <dsp:nvSpPr>
        <dsp:cNvPr id="0" name=""/>
        <dsp:cNvSpPr/>
      </dsp:nvSpPr>
      <dsp:spPr>
        <a:xfrm>
          <a:off x="7894794" y="2684624"/>
          <a:ext cx="91440" cy="50019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00191"/>
              </a:lnTo>
            </a:path>
          </a:pathLst>
        </a:custGeom>
        <a:noFill/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B5035B-0A47-8343-A482-F3AE43E08570}">
      <dsp:nvSpPr>
        <dsp:cNvPr id="0" name=""/>
        <dsp:cNvSpPr/>
      </dsp:nvSpPr>
      <dsp:spPr>
        <a:xfrm>
          <a:off x="6120575" y="1092323"/>
          <a:ext cx="1819938" cy="5001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0866"/>
              </a:lnTo>
              <a:lnTo>
                <a:pt x="1819938" y="340866"/>
              </a:lnTo>
              <a:lnTo>
                <a:pt x="1819938" y="500191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6374AAC-B1DB-DA4A-B379-C760EC99BB44}">
      <dsp:nvSpPr>
        <dsp:cNvPr id="0" name=""/>
        <dsp:cNvSpPr/>
      </dsp:nvSpPr>
      <dsp:spPr>
        <a:xfrm>
          <a:off x="3809362" y="2684624"/>
          <a:ext cx="91440" cy="50019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00191"/>
              </a:lnTo>
            </a:path>
          </a:pathLst>
        </a:custGeom>
        <a:noFill/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726103-D94F-9C41-9C60-A69D810735B7}">
      <dsp:nvSpPr>
        <dsp:cNvPr id="0" name=""/>
        <dsp:cNvSpPr/>
      </dsp:nvSpPr>
      <dsp:spPr>
        <a:xfrm>
          <a:off x="3855082" y="1092323"/>
          <a:ext cx="2265493" cy="500191"/>
        </a:xfrm>
        <a:custGeom>
          <a:avLst/>
          <a:gdLst/>
          <a:ahLst/>
          <a:cxnLst/>
          <a:rect l="0" t="0" r="0" b="0"/>
          <a:pathLst>
            <a:path>
              <a:moveTo>
                <a:pt x="2265493" y="0"/>
              </a:moveTo>
              <a:lnTo>
                <a:pt x="2265493" y="340866"/>
              </a:lnTo>
              <a:lnTo>
                <a:pt x="0" y="340866"/>
              </a:lnTo>
              <a:lnTo>
                <a:pt x="0" y="500191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93E7E51-A6FC-5647-8535-3A949C5A337F}">
      <dsp:nvSpPr>
        <dsp:cNvPr id="0" name=""/>
        <dsp:cNvSpPr/>
      </dsp:nvSpPr>
      <dsp:spPr>
        <a:xfrm>
          <a:off x="3920903" y="213"/>
          <a:ext cx="4399344" cy="109210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7BBE52F-F774-9443-B4B6-B145E47778C4}">
      <dsp:nvSpPr>
        <dsp:cNvPr id="0" name=""/>
        <dsp:cNvSpPr/>
      </dsp:nvSpPr>
      <dsp:spPr>
        <a:xfrm>
          <a:off x="4111998" y="181753"/>
          <a:ext cx="4399344" cy="10921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em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hể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liên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quan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ới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bạo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lực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gia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đình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heo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2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hướng</a:t>
          </a:r>
          <a:endParaRPr lang="en-US" sz="20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4143985" y="213740"/>
        <a:ext cx="4335370" cy="1028135"/>
      </dsp:txXfrm>
    </dsp:sp>
    <dsp:sp modelId="{F0C9696F-1018-FD40-8C02-643D940A4509}">
      <dsp:nvSpPr>
        <dsp:cNvPr id="0" name=""/>
        <dsp:cNvSpPr/>
      </dsp:nvSpPr>
      <dsp:spPr>
        <a:xfrm>
          <a:off x="2443165" y="1592515"/>
          <a:ext cx="2823834" cy="109210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C30E663-2C9F-A947-A97F-76B453B5AA07}">
      <dsp:nvSpPr>
        <dsp:cNvPr id="0" name=""/>
        <dsp:cNvSpPr/>
      </dsp:nvSpPr>
      <dsp:spPr>
        <a:xfrm>
          <a:off x="2634260" y="1774055"/>
          <a:ext cx="2823834" cy="10921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Bạo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lực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liên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quan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rực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iếp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ới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rẻ</a:t>
          </a:r>
          <a:endParaRPr lang="en-US" sz="20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666247" y="1806042"/>
        <a:ext cx="2759860" cy="1028135"/>
      </dsp:txXfrm>
    </dsp:sp>
    <dsp:sp modelId="{D445CAD1-8AB5-D546-9645-271308AC359F}">
      <dsp:nvSpPr>
        <dsp:cNvPr id="0" name=""/>
        <dsp:cNvSpPr/>
      </dsp:nvSpPr>
      <dsp:spPr>
        <a:xfrm>
          <a:off x="1902063" y="3184816"/>
          <a:ext cx="3906037" cy="109210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8B66378-1275-AC47-AEAE-498898C74EC5}">
      <dsp:nvSpPr>
        <dsp:cNvPr id="0" name=""/>
        <dsp:cNvSpPr/>
      </dsp:nvSpPr>
      <dsp:spPr>
        <a:xfrm>
          <a:off x="2093158" y="3366357"/>
          <a:ext cx="3906037" cy="10921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Là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nạn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nhân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rực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iếp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và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được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xem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như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là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bạo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hành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về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mặt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hể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chất</a:t>
          </a:r>
          <a:endParaRPr lang="en-US" sz="20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125145" y="3398344"/>
        <a:ext cx="3842063" cy="1028135"/>
      </dsp:txXfrm>
    </dsp:sp>
    <dsp:sp modelId="{CA52B03C-E4D0-6E40-AD12-2B1C417AE65C}">
      <dsp:nvSpPr>
        <dsp:cNvPr id="0" name=""/>
        <dsp:cNvSpPr/>
      </dsp:nvSpPr>
      <dsp:spPr>
        <a:xfrm>
          <a:off x="6083041" y="1592515"/>
          <a:ext cx="3714944" cy="109210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4A13141-FB55-AE49-B6C2-630D75AAB346}">
      <dsp:nvSpPr>
        <dsp:cNvPr id="0" name=""/>
        <dsp:cNvSpPr/>
      </dsp:nvSpPr>
      <dsp:spPr>
        <a:xfrm>
          <a:off x="6274137" y="1774055"/>
          <a:ext cx="3714944" cy="10921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xem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hoặc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nghe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hấy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hành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vi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bạo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lực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đối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với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hành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viên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khác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rong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gia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đình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.</a:t>
          </a:r>
        </a:p>
      </dsp:txBody>
      <dsp:txXfrm>
        <a:off x="6306124" y="1806042"/>
        <a:ext cx="3650970" cy="1028135"/>
      </dsp:txXfrm>
    </dsp:sp>
    <dsp:sp modelId="{2CD18371-1A76-D040-99FC-93267A54B011}">
      <dsp:nvSpPr>
        <dsp:cNvPr id="0" name=""/>
        <dsp:cNvSpPr/>
      </dsp:nvSpPr>
      <dsp:spPr>
        <a:xfrm>
          <a:off x="6190292" y="3184816"/>
          <a:ext cx="3500443" cy="109210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D6A7402-BD05-8744-B65D-44CB3289FB2F}">
      <dsp:nvSpPr>
        <dsp:cNvPr id="0" name=""/>
        <dsp:cNvSpPr/>
      </dsp:nvSpPr>
      <dsp:spPr>
        <a:xfrm>
          <a:off x="6381387" y="3366357"/>
          <a:ext cx="3500443" cy="10921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Nạn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nhân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gián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iếp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–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Đây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được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gọi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là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một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dạng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bạo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hành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Chứng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kiến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bạo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lực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gia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đình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.</a:t>
          </a:r>
        </a:p>
      </dsp:txBody>
      <dsp:txXfrm>
        <a:off x="6413374" y="3398344"/>
        <a:ext cx="3436469" cy="1028135"/>
      </dsp:txXfrm>
    </dsp:sp>
    <dsp:sp modelId="{8CB1E452-C77D-8D4F-B5C9-0DFB641B5C28}">
      <dsp:nvSpPr>
        <dsp:cNvPr id="0" name=""/>
        <dsp:cNvSpPr/>
      </dsp:nvSpPr>
      <dsp:spPr>
        <a:xfrm>
          <a:off x="5782187" y="4777118"/>
          <a:ext cx="4316653" cy="109210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E777667-8162-A247-BEF0-755D1692827A}">
      <dsp:nvSpPr>
        <dsp:cNvPr id="0" name=""/>
        <dsp:cNvSpPr/>
      </dsp:nvSpPr>
      <dsp:spPr>
        <a:xfrm>
          <a:off x="5973282" y="4958658"/>
          <a:ext cx="4316653" cy="109210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hể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gây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ra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sự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sợ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hãi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,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căng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hẳng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đối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với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giống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như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khi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là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nạn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nhân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rực</a:t>
          </a:r>
          <a:r>
            <a:rPr lang="en-US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000" kern="1200" dirty="0" err="1">
              <a:latin typeface="Times New Roman" pitchFamily="18" charset="0"/>
              <a:cs typeface="Times New Roman" pitchFamily="18" charset="0"/>
            </a:rPr>
            <a:t>tiếp</a:t>
          </a:r>
          <a:endParaRPr lang="en-US" sz="20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6005269" y="4990645"/>
        <a:ext cx="4252679" cy="102813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8960DF-01E9-5247-A81C-9B4A0E974335}">
      <dsp:nvSpPr>
        <dsp:cNvPr id="0" name=""/>
        <dsp:cNvSpPr/>
      </dsp:nvSpPr>
      <dsp:spPr>
        <a:xfrm>
          <a:off x="5963474" y="1782216"/>
          <a:ext cx="4445490" cy="7957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1488"/>
              </a:lnTo>
              <a:lnTo>
                <a:pt x="4445490" y="421488"/>
              </a:lnTo>
              <a:lnTo>
                <a:pt x="4445490" y="795754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71D91E9-33DD-BA42-A30A-78B442DE27E6}">
      <dsp:nvSpPr>
        <dsp:cNvPr id="0" name=""/>
        <dsp:cNvSpPr/>
      </dsp:nvSpPr>
      <dsp:spPr>
        <a:xfrm>
          <a:off x="5963474" y="1782216"/>
          <a:ext cx="132525" cy="7957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21488"/>
              </a:lnTo>
              <a:lnTo>
                <a:pt x="132525" y="421488"/>
              </a:lnTo>
              <a:lnTo>
                <a:pt x="132525" y="795754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2F631A-04CC-7F4E-ACD4-816EDC656AC2}">
      <dsp:nvSpPr>
        <dsp:cNvPr id="0" name=""/>
        <dsp:cNvSpPr/>
      </dsp:nvSpPr>
      <dsp:spPr>
        <a:xfrm>
          <a:off x="1783035" y="1782216"/>
          <a:ext cx="4180439" cy="795754"/>
        </a:xfrm>
        <a:custGeom>
          <a:avLst/>
          <a:gdLst/>
          <a:ahLst/>
          <a:cxnLst/>
          <a:rect l="0" t="0" r="0" b="0"/>
          <a:pathLst>
            <a:path>
              <a:moveTo>
                <a:pt x="4180439" y="0"/>
              </a:moveTo>
              <a:lnTo>
                <a:pt x="4180439" y="421488"/>
              </a:lnTo>
              <a:lnTo>
                <a:pt x="0" y="421488"/>
              </a:lnTo>
              <a:lnTo>
                <a:pt x="0" y="795754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82D6A5-68B7-B446-B148-064BA9B1C4F3}">
      <dsp:nvSpPr>
        <dsp:cNvPr id="0" name=""/>
        <dsp:cNvSpPr/>
      </dsp:nvSpPr>
      <dsp:spPr>
        <a:xfrm>
          <a:off x="1535111" y="0"/>
          <a:ext cx="8856726" cy="1782216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Mục</a:t>
          </a:r>
          <a:r>
            <a:rPr lang="en-GB" sz="2400" kern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đích</a:t>
          </a:r>
          <a:endParaRPr lang="en-GB" sz="2400" kern="1200" dirty="0">
            <a:solidFill>
              <a:srgbClr val="FF0000"/>
            </a:solidFill>
            <a:latin typeface="Times New Roman" pitchFamily="18" charset="0"/>
            <a:cs typeface="Times New Roman" pitchFamily="18" charset="0"/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ố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ô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ơ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ả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ă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iể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ầy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ủ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ấ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ề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ă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â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ầ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ô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(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ì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ộ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)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ộ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ồ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ã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ộ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sp:txBody>
      <dsp:txXfrm>
        <a:off x="1535111" y="0"/>
        <a:ext cx="8856726" cy="1782216"/>
      </dsp:txXfrm>
    </dsp:sp>
    <dsp:sp modelId="{2F445620-C777-D644-AB4E-2613AE8AE8EC}">
      <dsp:nvSpPr>
        <dsp:cNvPr id="0" name=""/>
        <dsp:cNvSpPr/>
      </dsp:nvSpPr>
      <dsp:spPr>
        <a:xfrm>
          <a:off x="818" y="2577971"/>
          <a:ext cx="3564433" cy="2944667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ụ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ê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1- </a:t>
          </a:r>
          <a:r>
            <a:rPr lang="en-GB" sz="2400" b="1" kern="1200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rPr>
            <a:t>CHĂM SÓC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ố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ô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ơ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áp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ứ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ổ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ị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ố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ấ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ự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oá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ớ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sp:txBody>
      <dsp:txXfrm>
        <a:off x="818" y="2577971"/>
        <a:ext cx="3564433" cy="2944667"/>
      </dsp:txXfrm>
    </dsp:sp>
    <dsp:sp modelId="{360018CA-CCC9-944B-8C98-159A0A7EC697}">
      <dsp:nvSpPr>
        <dsp:cNvPr id="0" name=""/>
        <dsp:cNvSpPr/>
      </dsp:nvSpPr>
      <dsp:spPr>
        <a:xfrm>
          <a:off x="4313783" y="2577971"/>
          <a:ext cx="3564433" cy="2913977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ụ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ê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2 – </a:t>
          </a:r>
          <a:r>
            <a:rPr lang="en-GB" sz="2400" b="1" kern="1200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rPr>
            <a:t>AN TOÀN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ố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ô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ơ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ấy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an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oà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ắ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ắ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ằ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ô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ày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ể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ệ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sp:txBody>
      <dsp:txXfrm>
        <a:off x="4313783" y="2577971"/>
        <a:ext cx="3564433" cy="2913977"/>
      </dsp:txXfrm>
    </dsp:sp>
    <dsp:sp modelId="{43BFBF23-A612-534D-BC93-011BE2177425}">
      <dsp:nvSpPr>
        <dsp:cNvPr id="0" name=""/>
        <dsp:cNvSpPr/>
      </dsp:nvSpPr>
      <dsp:spPr>
        <a:xfrm>
          <a:off x="8626747" y="2577971"/>
          <a:ext cx="3564433" cy="3161242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ụ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ê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3 – </a:t>
          </a:r>
          <a:r>
            <a:rPr lang="en-GB" sz="2400" b="1" kern="1200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rPr>
            <a:t>BẢO VỆ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ố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ô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ơ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ấy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ế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ấ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ỳ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ố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uy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iể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ào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ảy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ì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ọ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ô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ó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ẽ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ă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ặ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ệ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ỏ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ố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uy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iể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ó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sp:txBody>
      <dsp:txXfrm>
        <a:off x="8626747" y="2577971"/>
        <a:ext cx="3564433" cy="3161242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ABC07C-DA97-F746-B5D2-D38EDA597718}">
      <dsp:nvSpPr>
        <dsp:cNvPr id="0" name=""/>
        <dsp:cNvSpPr/>
      </dsp:nvSpPr>
      <dsp:spPr>
        <a:xfrm>
          <a:off x="3983943" y="3257886"/>
          <a:ext cx="4106761" cy="2733485"/>
        </a:xfrm>
        <a:prstGeom prst="ellipse">
          <a:avLst/>
        </a:prstGeom>
        <a:solidFill>
          <a:schemeClr val="accent1">
            <a:lumMod val="40000"/>
            <a:lumOff val="60000"/>
          </a:schemeClr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ao </a:t>
          </a:r>
          <a:r>
            <a:rPr lang="en-US" sz="3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ng</a:t>
          </a:r>
          <a:r>
            <a:rPr lang="en-US" sz="3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3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US" sz="3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US" sz="3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ử</a:t>
          </a:r>
          <a:r>
            <a:rPr lang="en-US" sz="3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ng</a:t>
          </a:r>
          <a:r>
            <a:rPr lang="en-US" sz="3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ể</a:t>
          </a:r>
          <a:r>
            <a:rPr lang="en-US" sz="3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ang</a:t>
          </a:r>
          <a:r>
            <a:rPr lang="en-US" sz="3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ại</a:t>
          </a:r>
          <a:r>
            <a:rPr lang="en-US" sz="3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ợi</a:t>
          </a:r>
          <a:r>
            <a:rPr lang="en-US" sz="3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ận</a:t>
          </a:r>
          <a:r>
            <a:rPr lang="en-US" sz="3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o</a:t>
          </a:r>
          <a:r>
            <a:rPr lang="en-US" sz="3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US" sz="3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ớn</a:t>
          </a:r>
          <a:endParaRPr lang="en-US" sz="30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4585364" y="3658196"/>
        <a:ext cx="2903919" cy="1932865"/>
      </dsp:txXfrm>
    </dsp:sp>
    <dsp:sp modelId="{25938C64-0BE1-2449-A919-4D6A46739616}">
      <dsp:nvSpPr>
        <dsp:cNvPr id="0" name=""/>
        <dsp:cNvSpPr/>
      </dsp:nvSpPr>
      <dsp:spPr>
        <a:xfrm rot="11917812">
          <a:off x="1552696" y="3157812"/>
          <a:ext cx="2578168" cy="779043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F54A713-917B-FC4F-9FFD-DB9B8B3200F4}">
      <dsp:nvSpPr>
        <dsp:cNvPr id="0" name=""/>
        <dsp:cNvSpPr/>
      </dsp:nvSpPr>
      <dsp:spPr>
        <a:xfrm>
          <a:off x="15" y="2096800"/>
          <a:ext cx="3240456" cy="207744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ửi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i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m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ền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a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o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ớn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ử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ng</a:t>
          </a:r>
          <a:endParaRPr lang="en-US" sz="3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60861" y="2157646"/>
        <a:ext cx="3118764" cy="1955756"/>
      </dsp:txXfrm>
    </dsp:sp>
    <dsp:sp modelId="{42E892C5-ED69-574A-A394-0A75FD15E03D}">
      <dsp:nvSpPr>
        <dsp:cNvPr id="0" name=""/>
        <dsp:cNvSpPr/>
      </dsp:nvSpPr>
      <dsp:spPr>
        <a:xfrm rot="16200000">
          <a:off x="4989194" y="1698230"/>
          <a:ext cx="2096259" cy="779043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4374050-6273-F240-8266-4282D6551114}">
      <dsp:nvSpPr>
        <dsp:cNvPr id="0" name=""/>
        <dsp:cNvSpPr/>
      </dsp:nvSpPr>
      <dsp:spPr>
        <a:xfrm>
          <a:off x="3706153" y="898"/>
          <a:ext cx="4662340" cy="2077448"/>
        </a:xfrm>
        <a:prstGeom prst="roundRect">
          <a:avLst>
            <a:gd name="adj" fmla="val 10000"/>
          </a:avLst>
        </a:prstGeom>
        <a:solidFill>
          <a:schemeClr val="bg2">
            <a:lumMod val="90000"/>
          </a:schemeClr>
        </a:soli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ử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ng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ể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in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ền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ền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ử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ng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ởi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ớn</a:t>
          </a:r>
          <a:endParaRPr lang="en-US" sz="3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3766999" y="61744"/>
        <a:ext cx="4540648" cy="1955756"/>
      </dsp:txXfrm>
    </dsp:sp>
    <dsp:sp modelId="{582932EE-DABF-DB4D-8AC7-BE4599475F00}">
      <dsp:nvSpPr>
        <dsp:cNvPr id="0" name=""/>
        <dsp:cNvSpPr/>
      </dsp:nvSpPr>
      <dsp:spPr>
        <a:xfrm rot="20459469">
          <a:off x="7932888" y="3135575"/>
          <a:ext cx="2592209" cy="779043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01E0B2A-9D30-1348-8380-849CBDA63462}">
      <dsp:nvSpPr>
        <dsp:cNvPr id="0" name=""/>
        <dsp:cNvSpPr/>
      </dsp:nvSpPr>
      <dsp:spPr>
        <a:xfrm>
          <a:off x="8797861" y="2064213"/>
          <a:ext cx="3313115" cy="207744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94000"/>
                <a:satMod val="100000"/>
                <a:lumMod val="108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tint val="98000"/>
                <a:shade val="100000"/>
                <a:satMod val="100000"/>
                <a:lumMod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72000"/>
                <a:satMod val="120000"/>
                <a:lumMod val="100000"/>
              </a:schemeClr>
            </a:gs>
          </a:gsLst>
          <a:lin ang="5400000" scaled="0"/>
        </a:gradFill>
        <a:ln>
          <a:noFill/>
        </a:ln>
        <a:effectLst>
          <a:outerShdw blurRad="50800" dist="25400" dir="5400000" rotWithShape="0">
            <a:srgbClr val="000000">
              <a:alpha val="28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ử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ng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ể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ực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iện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ất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ông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US" sz="3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3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à</a:t>
          </a:r>
          <a:endParaRPr lang="en-US" sz="3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8858707" y="2125059"/>
        <a:ext cx="3191423" cy="1955756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14B892-F3F3-6C4A-9F9E-493F857DB4C8}">
      <dsp:nvSpPr>
        <dsp:cNvPr id="0" name=""/>
        <dsp:cNvSpPr/>
      </dsp:nvSpPr>
      <dsp:spPr>
        <a:xfrm>
          <a:off x="914399" y="0"/>
          <a:ext cx="10363200" cy="6176963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2B49846-8028-D54A-A1D1-24884C9A9CD5}">
      <dsp:nvSpPr>
        <dsp:cNvPr id="0" name=""/>
        <dsp:cNvSpPr/>
      </dsp:nvSpPr>
      <dsp:spPr>
        <a:xfrm>
          <a:off x="4903" y="1545216"/>
          <a:ext cx="3371179" cy="3086529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2000" kern="12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Mặc dù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chúng</a:t>
          </a:r>
          <a:r>
            <a:rPr lang="en-US" sz="2000" kern="12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ta </a:t>
          </a:r>
          <a:r>
            <a:rPr lang="vi-VN" sz="2000" kern="12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thường </a:t>
          </a:r>
          <a:r>
            <a:rPr lang="en-US" sz="2000" kern="12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“</a:t>
          </a:r>
          <a:r>
            <a:rPr lang="vi-VN" sz="2000" kern="12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nhận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thấy</a:t>
          </a:r>
          <a:r>
            <a:rPr lang="en-US" sz="2000" kern="12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”</a:t>
          </a:r>
          <a:r>
            <a:rPr lang="vi-VN" sz="2000" kern="12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có</a:t>
          </a:r>
          <a:r>
            <a:rPr lang="vi-VN" sz="2000" kern="12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những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quan</a:t>
          </a:r>
          <a:r>
            <a:rPr lang="en-US" sz="2000" kern="12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ngại</a:t>
          </a:r>
          <a:r>
            <a:rPr lang="vi-VN" sz="2000" kern="12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[lo lắng] về một đứa trẻ, nhưng không phải lúc nào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quan</a:t>
          </a:r>
          <a:r>
            <a:rPr lang="en-US" sz="2000" kern="12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ngại</a:t>
          </a:r>
          <a:r>
            <a:rPr lang="en-US" sz="2000" kern="12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đó</a:t>
          </a:r>
          <a:r>
            <a:rPr lang="en-US" sz="2000" kern="12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cũng</a:t>
          </a:r>
          <a:r>
            <a:rPr lang="en-US" sz="2000" kern="12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có</a:t>
          </a:r>
          <a:r>
            <a:rPr lang="en-US" sz="2000" kern="12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nghĩa</a:t>
          </a:r>
          <a:r>
            <a:rPr lang="en-US" sz="2000" kern="12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trẻ</a:t>
          </a:r>
          <a:r>
            <a:rPr lang="en-US" sz="2000" kern="12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bị</a:t>
          </a:r>
          <a:r>
            <a:rPr lang="en-US" sz="2000" kern="12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xâm</a:t>
          </a:r>
          <a:r>
            <a:rPr lang="en-US" sz="2000" kern="12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hại</a:t>
          </a:r>
          <a:r>
            <a:rPr lang="en-US" sz="2000" kern="1200" dirty="0">
              <a:solidFill>
                <a:schemeClr val="tx1"/>
              </a:solidFill>
              <a:latin typeface="+mj-lt"/>
              <a:cs typeface="Arial" panose="020B0604020202020204" pitchFamily="34" charset="0"/>
            </a:rPr>
            <a:t> </a:t>
          </a:r>
          <a:endParaRPr lang="en-GB" sz="2000" kern="1200" dirty="0">
            <a:solidFill>
              <a:schemeClr val="tx1"/>
            </a:solidFill>
            <a:latin typeface="+mj-lt"/>
            <a:cs typeface="Arial" panose="020B0604020202020204" pitchFamily="34" charset="0"/>
          </a:endParaRPr>
        </a:p>
      </dsp:txBody>
      <dsp:txXfrm>
        <a:off x="155575" y="1695888"/>
        <a:ext cx="3069835" cy="2785185"/>
      </dsp:txXfrm>
    </dsp:sp>
    <dsp:sp modelId="{94F57D72-0620-794D-9A42-23F4A7C42421}">
      <dsp:nvSpPr>
        <dsp:cNvPr id="0" name=""/>
        <dsp:cNvSpPr/>
      </dsp:nvSpPr>
      <dsp:spPr>
        <a:xfrm>
          <a:off x="3715855" y="1441048"/>
          <a:ext cx="3195308" cy="3294866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000" kern="1200" dirty="0" err="1">
              <a:solidFill>
                <a:schemeClr val="tx1"/>
              </a:solidFill>
              <a:latin typeface="+mj-lt"/>
            </a:rPr>
            <a:t>Đôi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khi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có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những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dấu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hiệu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rõ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ràng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như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: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000" kern="1200" dirty="0" err="1">
              <a:solidFill>
                <a:schemeClr val="tx1"/>
              </a:solidFill>
              <a:latin typeface="+mj-lt"/>
            </a:rPr>
            <a:t>Trẻ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bị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xâm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hại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tình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dục</a:t>
          </a:r>
          <a:endParaRPr lang="en-AU" sz="2000" kern="1200" dirty="0">
            <a:solidFill>
              <a:schemeClr val="tx1"/>
            </a:solidFill>
            <a:latin typeface="+mj-lt"/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000" kern="1200" dirty="0" err="1">
              <a:solidFill>
                <a:schemeClr val="tx1"/>
              </a:solidFill>
              <a:latin typeface="+mj-lt"/>
            </a:rPr>
            <a:t>Trẻ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có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những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vết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thương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thể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chất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không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phải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tai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nạn</a:t>
          </a:r>
          <a:endParaRPr lang="en-AU" sz="2000" kern="1200" dirty="0">
            <a:solidFill>
              <a:schemeClr val="tx1"/>
            </a:solidFill>
            <a:latin typeface="+mj-lt"/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000" kern="1200" dirty="0" err="1">
              <a:solidFill>
                <a:schemeClr val="tx1"/>
              </a:solidFill>
              <a:latin typeface="+mj-lt"/>
            </a:rPr>
            <a:t>Trẻ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có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biểu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hiện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chấn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động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tâm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lý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hoặc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chối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bỏ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cảm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xúc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rõ</a:t>
          </a:r>
          <a:r>
            <a:rPr lang="en-AU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AU" sz="2000" kern="1200" dirty="0" err="1">
              <a:solidFill>
                <a:schemeClr val="tx1"/>
              </a:solidFill>
              <a:latin typeface="+mj-lt"/>
            </a:rPr>
            <a:t>rệt</a:t>
          </a:r>
          <a:endParaRPr lang="en-GB" sz="2000" kern="1200" dirty="0">
            <a:solidFill>
              <a:schemeClr val="tx1"/>
            </a:solidFill>
            <a:latin typeface="+mj-lt"/>
          </a:endParaRPr>
        </a:p>
      </dsp:txBody>
      <dsp:txXfrm>
        <a:off x="3871837" y="1597030"/>
        <a:ext cx="2883344" cy="2982902"/>
      </dsp:txXfrm>
    </dsp:sp>
    <dsp:sp modelId="{C2C430A7-EDD2-F44F-B306-32A12E4F01A1}">
      <dsp:nvSpPr>
        <dsp:cNvPr id="0" name=""/>
        <dsp:cNvSpPr/>
      </dsp:nvSpPr>
      <dsp:spPr>
        <a:xfrm>
          <a:off x="7250934" y="271996"/>
          <a:ext cx="4936161" cy="5632970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solidFill>
                <a:schemeClr val="tx1"/>
              </a:solidFill>
              <a:latin typeface="+mj-lt"/>
            </a:rPr>
            <a:t>Đôi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khi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một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hành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động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có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thể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được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diễn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giải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theo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hai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hướng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: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tx1"/>
              </a:solidFill>
              <a:latin typeface="+mj-lt"/>
            </a:rPr>
            <a:t>1.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Hành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vi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đó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là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“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bình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thường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” [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đi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kèm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ảnh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hưởng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của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những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hành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vi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này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]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và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cũng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có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thể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là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xâm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hại</a:t>
          </a:r>
          <a:endParaRPr lang="en-GB" sz="2000" kern="1200" dirty="0">
            <a:solidFill>
              <a:schemeClr val="tx1"/>
            </a:solidFill>
            <a:latin typeface="+mj-lt"/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tx1"/>
              </a:solidFill>
              <a:latin typeface="+mj-lt"/>
            </a:rPr>
            <a:t>2.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Không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bình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thường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và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có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quan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ngại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đáng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kể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.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solidFill>
                <a:schemeClr val="tx1"/>
              </a:solidFill>
              <a:latin typeface="+mj-lt"/>
            </a:rPr>
            <a:t>Ví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dụ</a:t>
          </a:r>
          <a:endParaRPr lang="en-GB" sz="2000" kern="1200" dirty="0">
            <a:solidFill>
              <a:schemeClr val="tx1"/>
            </a:solidFill>
            <a:latin typeface="+mj-lt"/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solidFill>
                <a:schemeClr val="tx1"/>
              </a:solidFill>
              <a:latin typeface="+mj-lt"/>
            </a:rPr>
            <a:t>Trẻ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bị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gãy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tay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có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thể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là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do tai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nạn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hoặc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không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phải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 tai </a:t>
          </a:r>
          <a:r>
            <a:rPr lang="en-GB" sz="2000" kern="1200" dirty="0" err="1">
              <a:solidFill>
                <a:schemeClr val="tx1"/>
              </a:solidFill>
              <a:latin typeface="+mj-lt"/>
            </a:rPr>
            <a:t>nạn</a:t>
          </a:r>
          <a:r>
            <a:rPr lang="en-GB" sz="2000" kern="1200" dirty="0">
              <a:solidFill>
                <a:schemeClr val="tx1"/>
              </a:solidFill>
              <a:latin typeface="+mj-lt"/>
            </a:rPr>
            <a:t>.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Bắt nạt có thể là 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“</a:t>
          </a:r>
          <a:r>
            <a:rPr lang="vi-VN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Bình thường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”</a:t>
          </a:r>
          <a:r>
            <a:rPr lang="vi-VN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khi nó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chỉ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biểu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hiện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dưới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dạng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tranh</a:t>
          </a:r>
          <a:r>
            <a:rPr lang="vi-VN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cãi</a:t>
          </a:r>
          <a:r>
            <a:rPr lang="vi-VN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,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quan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điểm</a:t>
          </a:r>
          <a:r>
            <a:rPr lang="vi-VN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khác biệt và đe dọa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nhẹ</a:t>
          </a:r>
          <a:r>
            <a:rPr lang="vi-VN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[ví dụ: Tôi sẽ không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chơi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với</a:t>
          </a:r>
          <a:r>
            <a:rPr lang="vi-VN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bạn nữa] giữa trẻ em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với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nhau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và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có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thể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là</a:t>
          </a:r>
          <a:r>
            <a:rPr lang="vi-VN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xâm hại trẻ em khi nó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biểu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hiện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dưới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dạng</a:t>
          </a:r>
          <a:r>
            <a:rPr lang="vi-VN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quấy rối, đe dọa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nghiêm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trọng</a:t>
          </a:r>
          <a:r>
            <a:rPr lang="vi-VN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và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đã</a:t>
          </a:r>
          <a:r>
            <a:rPr lang="vi-VN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có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vi-VN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hành động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xảy</a:t>
          </a:r>
          <a:r>
            <a:rPr lang="en-US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 ra</a:t>
          </a:r>
          <a:r>
            <a:rPr lang="en-GB" sz="2000" kern="1200" dirty="0">
              <a:solidFill>
                <a:schemeClr val="tx1"/>
              </a:solidFill>
              <a:latin typeface="+mj-lt"/>
              <a:cs typeface="Calibri" panose="020F0502020204030204" pitchFamily="34" charset="0"/>
            </a:rPr>
            <a:t>. </a:t>
          </a:r>
        </a:p>
      </dsp:txBody>
      <dsp:txXfrm>
        <a:off x="7491898" y="512960"/>
        <a:ext cx="4454233" cy="5151042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38BDA5-B5FE-3942-8B1B-80F80D484808}">
      <dsp:nvSpPr>
        <dsp:cNvPr id="0" name=""/>
        <dsp:cNvSpPr/>
      </dsp:nvSpPr>
      <dsp:spPr>
        <a:xfrm>
          <a:off x="3772423" y="0"/>
          <a:ext cx="5532437" cy="5532437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5ECEC9-CE9B-4E43-B722-92DA76DFCDB9}">
      <dsp:nvSpPr>
        <dsp:cNvPr id="0" name=""/>
        <dsp:cNvSpPr/>
      </dsp:nvSpPr>
      <dsp:spPr>
        <a:xfrm>
          <a:off x="913568" y="160334"/>
          <a:ext cx="6125418" cy="2818711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i="1" kern="1200" dirty="0" err="1">
              <a:solidFill>
                <a:schemeClr val="tx1"/>
              </a:solidFill>
            </a:rPr>
            <a:t>Tính</a:t>
          </a:r>
          <a:r>
            <a:rPr lang="en-GB" sz="2000" i="1" kern="1200" dirty="0">
              <a:solidFill>
                <a:schemeClr val="tx1"/>
              </a:solidFill>
            </a:rPr>
            <a:t> </a:t>
          </a:r>
          <a:r>
            <a:rPr lang="en-GB" sz="2000" i="1" kern="1200" dirty="0" err="1">
              <a:solidFill>
                <a:schemeClr val="tx1"/>
              </a:solidFill>
            </a:rPr>
            <a:t>nghiêm</a:t>
          </a:r>
          <a:r>
            <a:rPr lang="en-GB" sz="2000" i="1" kern="1200" dirty="0">
              <a:solidFill>
                <a:schemeClr val="tx1"/>
              </a:solidFill>
            </a:rPr>
            <a:t> </a:t>
          </a:r>
          <a:r>
            <a:rPr lang="en-GB" sz="2000" i="1" kern="1200" dirty="0" err="1">
              <a:solidFill>
                <a:schemeClr val="tx1"/>
              </a:solidFill>
            </a:rPr>
            <a:t>trọng</a:t>
          </a:r>
          <a:endParaRPr lang="en-GB" sz="2000" i="1" kern="1200" dirty="0">
            <a:solidFill>
              <a:schemeClr val="tx1"/>
            </a:solidFill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solidFill>
                <a:schemeClr val="tx1"/>
              </a:solidFill>
            </a:rPr>
            <a:t>Biểu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iện</a:t>
          </a:r>
          <a:r>
            <a:rPr lang="en-GB" sz="2000" kern="1200" dirty="0">
              <a:solidFill>
                <a:schemeClr val="tx1"/>
              </a:solidFill>
            </a:rPr>
            <a:t> qua: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tx1"/>
              </a:solidFill>
            </a:rPr>
            <a:t>1.  </a:t>
          </a:r>
          <a:r>
            <a:rPr lang="en-GB" sz="2000" kern="1200" dirty="0" err="1">
              <a:solidFill>
                <a:schemeClr val="tx1"/>
              </a:solidFill>
            </a:rPr>
            <a:t>Quy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định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luật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pháp</a:t>
          </a:r>
          <a:r>
            <a:rPr lang="en-GB" sz="2000" kern="1200" dirty="0">
              <a:solidFill>
                <a:schemeClr val="tx1"/>
              </a:solidFill>
            </a:rPr>
            <a:t>. </a:t>
          </a:r>
          <a:r>
            <a:rPr lang="en-GB" sz="2000" kern="1200" dirty="0" err="1">
              <a:solidFill>
                <a:schemeClr val="tx1"/>
              </a:solidFill>
            </a:rPr>
            <a:t>Ví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dụ</a:t>
          </a:r>
          <a:r>
            <a:rPr lang="en-GB" sz="2000" kern="1200" dirty="0">
              <a:solidFill>
                <a:schemeClr val="tx1"/>
              </a:solidFill>
            </a:rPr>
            <a:t>: </a:t>
          </a:r>
          <a:r>
            <a:rPr lang="en-GB" sz="2000" kern="1200" dirty="0" err="1">
              <a:solidFill>
                <a:schemeClr val="tx1"/>
              </a:solidFill>
            </a:rPr>
            <a:t>xâ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ạ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ình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dục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rẻ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e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được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xét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vào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xâ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ạ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rẻ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em</a:t>
          </a:r>
          <a:r>
            <a:rPr lang="en-GB" sz="2000" kern="1200" dirty="0">
              <a:solidFill>
                <a:schemeClr val="tx1"/>
              </a:solidFill>
            </a:rPr>
            <a:t>.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tx1"/>
              </a:solidFill>
            </a:rPr>
            <a:t>2. </a:t>
          </a:r>
          <a:r>
            <a:rPr lang="en-GB" sz="2000" kern="1200" dirty="0" err="1">
              <a:solidFill>
                <a:schemeClr val="tx1"/>
              </a:solidFill>
            </a:rPr>
            <a:t>Các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ông</a:t>
          </a:r>
          <a:r>
            <a:rPr lang="en-GB" sz="2000" kern="1200" dirty="0">
              <a:solidFill>
                <a:schemeClr val="tx1"/>
              </a:solidFill>
            </a:rPr>
            <a:t> tin </a:t>
          </a:r>
          <a:r>
            <a:rPr lang="en-GB" sz="2000" kern="1200" dirty="0" err="1">
              <a:solidFill>
                <a:schemeClr val="tx1"/>
              </a:solidFill>
            </a:rPr>
            <a:t>cho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ấy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oặc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dườ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hư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ho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ấy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mức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độ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ghiê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rọ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ủa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hữ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gì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đã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xảy</a:t>
          </a:r>
          <a:r>
            <a:rPr lang="en-GB" sz="2000" kern="1200" dirty="0">
              <a:solidFill>
                <a:schemeClr val="tx1"/>
              </a:solidFill>
            </a:rPr>
            <a:t> ra.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tx1"/>
              </a:solidFill>
            </a:rPr>
            <a:t>3. </a:t>
          </a:r>
          <a:r>
            <a:rPr lang="en-GB" sz="2000" kern="1200" dirty="0" err="1">
              <a:solidFill>
                <a:schemeClr val="tx1"/>
              </a:solidFill>
            </a:rPr>
            <a:t>Cả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hận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hủ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quan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về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một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ành</a:t>
          </a:r>
          <a:r>
            <a:rPr lang="en-GB" sz="2000" kern="1200" dirty="0">
              <a:solidFill>
                <a:schemeClr val="tx1"/>
              </a:solidFill>
            </a:rPr>
            <a:t> vi </a:t>
          </a:r>
          <a:r>
            <a:rPr lang="en-GB" sz="2000" kern="1200" dirty="0" err="1">
              <a:solidFill>
                <a:schemeClr val="tx1"/>
              </a:solidFill>
            </a:rPr>
            <a:t>là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sa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rá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ghiê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rọng</a:t>
          </a:r>
          <a:r>
            <a:rPr lang="en-GB" sz="2000" kern="1200" dirty="0">
              <a:solidFill>
                <a:schemeClr val="tx1"/>
              </a:solidFill>
            </a:rPr>
            <a:t>.</a:t>
          </a:r>
        </a:p>
      </dsp:txBody>
      <dsp:txXfrm>
        <a:off x="1051166" y="297932"/>
        <a:ext cx="5850222" cy="2543515"/>
      </dsp:txXfrm>
    </dsp:sp>
    <dsp:sp modelId="{3AA6E1A6-D678-6045-9F25-CE5933D0E61E}">
      <dsp:nvSpPr>
        <dsp:cNvPr id="0" name=""/>
        <dsp:cNvSpPr/>
      </dsp:nvSpPr>
      <dsp:spPr>
        <a:xfrm>
          <a:off x="7444416" y="456126"/>
          <a:ext cx="4354850" cy="2157650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i="1" kern="1200" dirty="0" err="1">
              <a:solidFill>
                <a:schemeClr val="tx1"/>
              </a:solidFill>
            </a:rPr>
            <a:t>Hành</a:t>
          </a:r>
          <a:r>
            <a:rPr lang="en-GB" sz="2000" i="1" kern="1200" dirty="0">
              <a:solidFill>
                <a:schemeClr val="tx1"/>
              </a:solidFill>
            </a:rPr>
            <a:t> vi </a:t>
          </a:r>
          <a:r>
            <a:rPr lang="en-GB" sz="2000" i="1" kern="1200" dirty="0" err="1">
              <a:solidFill>
                <a:schemeClr val="tx1"/>
              </a:solidFill>
            </a:rPr>
            <a:t>thiếu</a:t>
          </a:r>
          <a:r>
            <a:rPr lang="en-GB" sz="2000" i="1" kern="1200" dirty="0">
              <a:solidFill>
                <a:schemeClr val="tx1"/>
              </a:solidFill>
            </a:rPr>
            <a:t> </a:t>
          </a:r>
          <a:r>
            <a:rPr lang="en-GB" sz="2000" i="1" kern="1200" dirty="0" err="1">
              <a:solidFill>
                <a:schemeClr val="tx1"/>
              </a:solidFill>
            </a:rPr>
            <a:t>sót</a:t>
          </a:r>
          <a:endParaRPr lang="en-GB" sz="2000" i="1" kern="1200" dirty="0">
            <a:solidFill>
              <a:schemeClr val="tx1"/>
            </a:solidFill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solidFill>
                <a:schemeClr val="tx1"/>
              </a:solidFill>
            </a:rPr>
            <a:t>Thông</a:t>
          </a:r>
          <a:r>
            <a:rPr lang="en-GB" sz="2000" kern="1200" dirty="0">
              <a:solidFill>
                <a:schemeClr val="tx1"/>
              </a:solidFill>
            </a:rPr>
            <a:t> tin </a:t>
          </a:r>
          <a:r>
            <a:rPr lang="en-GB" sz="2000" kern="1200" dirty="0" err="1">
              <a:solidFill>
                <a:schemeClr val="tx1"/>
              </a:solidFill>
            </a:rPr>
            <a:t>dườ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hư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ho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ấy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rằ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một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gườ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khác</a:t>
          </a:r>
          <a:r>
            <a:rPr lang="en-GB" sz="2000" kern="1200" dirty="0">
              <a:solidFill>
                <a:schemeClr val="tx1"/>
              </a:solidFill>
            </a:rPr>
            <a:t> [</a:t>
          </a:r>
          <a:r>
            <a:rPr lang="en-GB" sz="2000" kern="1200" dirty="0" err="1">
              <a:solidFill>
                <a:schemeClr val="tx1"/>
              </a:solidFill>
            </a:rPr>
            <a:t>ngườ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lớn</a:t>
          </a:r>
          <a:r>
            <a:rPr lang="en-GB" sz="2000" kern="1200" dirty="0">
              <a:solidFill>
                <a:schemeClr val="tx1"/>
              </a:solidFill>
            </a:rPr>
            <a:t>/</a:t>
          </a:r>
          <a:r>
            <a:rPr lang="en-GB" sz="2000" kern="1200" dirty="0" err="1">
              <a:solidFill>
                <a:schemeClr val="tx1"/>
              </a:solidFill>
            </a:rPr>
            <a:t>trẻ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em</a:t>
          </a:r>
          <a:r>
            <a:rPr lang="en-GB" sz="2000" kern="1200" dirty="0">
              <a:solidFill>
                <a:schemeClr val="tx1"/>
              </a:solidFill>
            </a:rPr>
            <a:t>] </a:t>
          </a:r>
          <a:r>
            <a:rPr lang="en-GB" sz="2000" kern="1200" dirty="0" err="1">
              <a:solidFill>
                <a:schemeClr val="tx1"/>
              </a:solidFill>
            </a:rPr>
            <a:t>một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ách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ó</a:t>
          </a:r>
          <a:r>
            <a:rPr lang="en-GB" sz="2000" kern="1200" dirty="0">
              <a:solidFill>
                <a:schemeClr val="tx1"/>
              </a:solidFill>
            </a:rPr>
            <a:t> ý </a:t>
          </a:r>
          <a:r>
            <a:rPr lang="en-GB" sz="2000" kern="1200" dirty="0" err="1">
              <a:solidFill>
                <a:schemeClr val="tx1"/>
              </a:solidFill>
            </a:rPr>
            <a:t>thức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ó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ành</a:t>
          </a:r>
          <a:r>
            <a:rPr lang="en-GB" sz="2000" kern="1200" dirty="0">
              <a:solidFill>
                <a:schemeClr val="tx1"/>
              </a:solidFill>
            </a:rPr>
            <a:t> vi </a:t>
          </a:r>
          <a:r>
            <a:rPr lang="en-GB" sz="2000" kern="1200" dirty="0" err="1">
              <a:solidFill>
                <a:schemeClr val="tx1"/>
              </a:solidFill>
            </a:rPr>
            <a:t>thiếu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sót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và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ó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ể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hận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ấy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được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rằ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ành</a:t>
          </a:r>
          <a:r>
            <a:rPr lang="en-GB" sz="2000" kern="1200" dirty="0">
              <a:solidFill>
                <a:schemeClr val="tx1"/>
              </a:solidFill>
            </a:rPr>
            <a:t> vi </a:t>
          </a:r>
          <a:r>
            <a:rPr lang="en-GB" sz="2000" kern="1200" dirty="0" err="1">
              <a:solidFill>
                <a:schemeClr val="tx1"/>
              </a:solidFill>
            </a:rPr>
            <a:t>thiếu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sót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đó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ó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hể</a:t>
          </a:r>
          <a:r>
            <a:rPr lang="en-GB" sz="2000" kern="1200" dirty="0">
              <a:solidFill>
                <a:schemeClr val="tx1"/>
              </a:solidFill>
            </a:rPr>
            <a:t> mang </a:t>
          </a:r>
          <a:r>
            <a:rPr lang="en-GB" sz="2000" kern="1200" dirty="0" err="1">
              <a:solidFill>
                <a:schemeClr val="tx1"/>
              </a:solidFill>
            </a:rPr>
            <a:t>lạ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hậu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quả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ghiê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rọng</a:t>
          </a:r>
          <a:endParaRPr lang="en-GB" sz="2000" kern="1200" dirty="0">
            <a:solidFill>
              <a:schemeClr val="tx1"/>
            </a:solidFill>
          </a:endParaRPr>
        </a:p>
      </dsp:txBody>
      <dsp:txXfrm>
        <a:off x="7549744" y="561454"/>
        <a:ext cx="4144194" cy="1946994"/>
      </dsp:txXfrm>
    </dsp:sp>
    <dsp:sp modelId="{B755272D-55F5-6347-A8DB-C357DCA79C31}">
      <dsp:nvSpPr>
        <dsp:cNvPr id="0" name=""/>
        <dsp:cNvSpPr/>
      </dsp:nvSpPr>
      <dsp:spPr>
        <a:xfrm>
          <a:off x="973659" y="3298600"/>
          <a:ext cx="4868328" cy="1903651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i="1" kern="1200" dirty="0">
              <a:solidFill>
                <a:schemeClr val="tx1"/>
              </a:solidFill>
            </a:rPr>
            <a:t>Quan </a:t>
          </a:r>
          <a:r>
            <a:rPr lang="en-GB" sz="2000" i="1" kern="1200" dirty="0" err="1">
              <a:solidFill>
                <a:schemeClr val="tx1"/>
              </a:solidFill>
            </a:rPr>
            <a:t>ngại</a:t>
          </a:r>
          <a:r>
            <a:rPr lang="en-GB" sz="2000" i="1" kern="1200" dirty="0">
              <a:solidFill>
                <a:schemeClr val="tx1"/>
              </a:solidFill>
            </a:rPr>
            <a:t> </a:t>
          </a:r>
          <a:r>
            <a:rPr lang="en-GB" sz="2000" i="1" kern="1200" dirty="0" err="1">
              <a:solidFill>
                <a:schemeClr val="tx1"/>
              </a:solidFill>
            </a:rPr>
            <a:t>về</a:t>
          </a:r>
          <a:r>
            <a:rPr lang="en-GB" sz="2000" i="1" kern="1200" dirty="0">
              <a:solidFill>
                <a:schemeClr val="tx1"/>
              </a:solidFill>
            </a:rPr>
            <a:t> </a:t>
          </a:r>
          <a:r>
            <a:rPr lang="en-GB" sz="2000" i="1" kern="1200" dirty="0" err="1">
              <a:solidFill>
                <a:schemeClr val="tx1"/>
              </a:solidFill>
            </a:rPr>
            <a:t>nguy</a:t>
          </a:r>
          <a:r>
            <a:rPr lang="en-GB" sz="2000" i="1" kern="1200" dirty="0">
              <a:solidFill>
                <a:schemeClr val="tx1"/>
              </a:solidFill>
            </a:rPr>
            <a:t> </a:t>
          </a:r>
          <a:r>
            <a:rPr lang="en-GB" sz="2000" i="1" kern="1200" dirty="0" err="1">
              <a:solidFill>
                <a:schemeClr val="tx1"/>
              </a:solidFill>
            </a:rPr>
            <a:t>cơ</a:t>
          </a:r>
          <a:endParaRPr lang="en-GB" sz="2000" i="1" kern="1200" dirty="0">
            <a:solidFill>
              <a:schemeClr val="tx1"/>
            </a:solidFill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c thông tin dường như cho thấy trẻ có thể bị tổn hại hoặc tổn hại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hêm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lần nữa nếu không có 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an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hiệp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nào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được thực hiện</a:t>
          </a:r>
          <a:r>
            <a:rPr lang="en-GB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.</a:t>
          </a:r>
        </a:p>
      </dsp:txBody>
      <dsp:txXfrm>
        <a:off x="1066588" y="3391529"/>
        <a:ext cx="4682470" cy="1717793"/>
      </dsp:txXfrm>
    </dsp:sp>
    <dsp:sp modelId="{47A9B6E0-1753-FC44-B7DD-EC0CA8C4E677}">
      <dsp:nvSpPr>
        <dsp:cNvPr id="0" name=""/>
        <dsp:cNvSpPr/>
      </dsp:nvSpPr>
      <dsp:spPr>
        <a:xfrm>
          <a:off x="7597760" y="3050686"/>
          <a:ext cx="3724083" cy="2157650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i="1" kern="1200" dirty="0" err="1">
              <a:solidFill>
                <a:schemeClr val="tx1"/>
              </a:solidFill>
            </a:rPr>
            <a:t>Cảm</a:t>
          </a:r>
          <a:r>
            <a:rPr lang="en-GB" sz="2000" i="1" kern="1200" dirty="0">
              <a:solidFill>
                <a:schemeClr val="tx1"/>
              </a:solidFill>
            </a:rPr>
            <a:t> </a:t>
          </a:r>
          <a:r>
            <a:rPr lang="en-GB" sz="2000" i="1" kern="1200" dirty="0" err="1">
              <a:solidFill>
                <a:schemeClr val="tx1"/>
              </a:solidFill>
            </a:rPr>
            <a:t>nhận</a:t>
          </a:r>
          <a:endParaRPr lang="en-GB" sz="2000" i="1" kern="1200" dirty="0">
            <a:solidFill>
              <a:schemeClr val="tx1"/>
            </a:solidFill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solidFill>
                <a:schemeClr val="tx1"/>
              </a:solidFill>
            </a:rPr>
            <a:t>Cảm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nhận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hủ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quan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rằ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có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điều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gì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đó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không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ổn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với</a:t>
          </a:r>
          <a:r>
            <a:rPr lang="en-GB" sz="2000" kern="1200" dirty="0">
              <a:solidFill>
                <a:schemeClr val="tx1"/>
              </a:solidFill>
            </a:rPr>
            <a:t> </a:t>
          </a:r>
          <a:r>
            <a:rPr lang="en-GB" sz="2000" kern="1200" dirty="0" err="1">
              <a:solidFill>
                <a:schemeClr val="tx1"/>
              </a:solidFill>
            </a:rPr>
            <a:t>trẻ</a:t>
          </a:r>
          <a:r>
            <a:rPr lang="en-GB" sz="2000" kern="1200" dirty="0">
              <a:solidFill>
                <a:schemeClr val="tx1"/>
              </a:solidFill>
            </a:rPr>
            <a:t>.</a:t>
          </a:r>
        </a:p>
      </dsp:txBody>
      <dsp:txXfrm>
        <a:off x="7703088" y="3156014"/>
        <a:ext cx="3513427" cy="1946994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770270-FCA8-614E-B3D5-3D490CD5792D}">
      <dsp:nvSpPr>
        <dsp:cNvPr id="0" name=""/>
        <dsp:cNvSpPr/>
      </dsp:nvSpPr>
      <dsp:spPr>
        <a:xfrm>
          <a:off x="6012791" y="1458792"/>
          <a:ext cx="306288" cy="1341834"/>
        </a:xfrm>
        <a:custGeom>
          <a:avLst/>
          <a:gdLst/>
          <a:ahLst/>
          <a:cxnLst/>
          <a:rect l="0" t="0" r="0" b="0"/>
          <a:pathLst>
            <a:path>
              <a:moveTo>
                <a:pt x="306288" y="0"/>
              </a:moveTo>
              <a:lnTo>
                <a:pt x="306288" y="1341834"/>
              </a:lnTo>
              <a:lnTo>
                <a:pt x="0" y="1341834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EB4450-3F2C-D94F-841A-C6D0A4C1F10C}">
      <dsp:nvSpPr>
        <dsp:cNvPr id="0" name=""/>
        <dsp:cNvSpPr/>
      </dsp:nvSpPr>
      <dsp:spPr>
        <a:xfrm>
          <a:off x="6319079" y="1458792"/>
          <a:ext cx="2745553" cy="26836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77380"/>
              </a:lnTo>
              <a:lnTo>
                <a:pt x="2745553" y="2377380"/>
              </a:lnTo>
              <a:lnTo>
                <a:pt x="2745553" y="2683668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7FE144-326B-C84C-826B-25DC15CB0623}">
      <dsp:nvSpPr>
        <dsp:cNvPr id="0" name=""/>
        <dsp:cNvSpPr/>
      </dsp:nvSpPr>
      <dsp:spPr>
        <a:xfrm>
          <a:off x="3430446" y="1458792"/>
          <a:ext cx="2888633" cy="2683668"/>
        </a:xfrm>
        <a:custGeom>
          <a:avLst/>
          <a:gdLst/>
          <a:ahLst/>
          <a:cxnLst/>
          <a:rect l="0" t="0" r="0" b="0"/>
          <a:pathLst>
            <a:path>
              <a:moveTo>
                <a:pt x="2888633" y="0"/>
              </a:moveTo>
              <a:lnTo>
                <a:pt x="2888633" y="2377380"/>
              </a:lnTo>
              <a:lnTo>
                <a:pt x="0" y="2377380"/>
              </a:lnTo>
              <a:lnTo>
                <a:pt x="0" y="2683668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78A1FF5-9479-6A49-98A6-862CDB845433}">
      <dsp:nvSpPr>
        <dsp:cNvPr id="0" name=""/>
        <dsp:cNvSpPr/>
      </dsp:nvSpPr>
      <dsp:spPr>
        <a:xfrm>
          <a:off x="2136757" y="277"/>
          <a:ext cx="8364645" cy="1458515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ần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nhớ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rằng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với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ai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ò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bảo vệ trẻ em thứ cấp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ường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học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,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an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ảo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ệ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ẻ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em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ường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học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sẽ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không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đưa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ra 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quyết định cuối cùng về những gì có thể xảy ra với một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đứa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ẻ</a:t>
          </a:r>
          <a:endParaRPr lang="en-GB" sz="2000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2136757" y="277"/>
        <a:ext cx="8364645" cy="1458515"/>
      </dsp:txXfrm>
    </dsp:sp>
    <dsp:sp modelId="{270EDDD5-59F6-E045-A78D-8C54051F9E13}">
      <dsp:nvSpPr>
        <dsp:cNvPr id="0" name=""/>
        <dsp:cNvSpPr/>
      </dsp:nvSpPr>
      <dsp:spPr>
        <a:xfrm>
          <a:off x="991180" y="4142461"/>
          <a:ext cx="4878530" cy="1458515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uy nhiên,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ộ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ảo vệ trẻ em của trường học có vai trò quan trọng trong việc tư vấn cho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ộ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BVTE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UBND –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Tôi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qua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n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gại đây có thể là một trường hợp bảo vệ trẻ em dựa trên những gì tôi đã thấy, đã nghe</a:t>
          </a:r>
          <a:endParaRPr lang="en-GB" sz="2000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991180" y="4142461"/>
        <a:ext cx="4878530" cy="1458515"/>
      </dsp:txXfrm>
    </dsp:sp>
    <dsp:sp modelId="{FCBD0271-164E-FE46-95FF-65A8984C322C}">
      <dsp:nvSpPr>
        <dsp:cNvPr id="0" name=""/>
        <dsp:cNvSpPr/>
      </dsp:nvSpPr>
      <dsp:spPr>
        <a:xfrm>
          <a:off x="6482287" y="4142461"/>
          <a:ext cx="5164691" cy="1458515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ộ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bảo vệ trẻ em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ường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học cung cấp cho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bộ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BVTE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UBND</a:t>
          </a:r>
          <a:r>
            <a:rPr lang="vi-VN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ác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qua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điểm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dựa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ê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huyê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mô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giáo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dục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ề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lập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luận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của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mình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vì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sao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“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đây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là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một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ường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hợp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xâm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hại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trẻ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 </a:t>
          </a:r>
          <a:r>
            <a:rPr lang="en-US" sz="2000" kern="1200" dirty="0" err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em</a:t>
          </a:r>
          <a:r>
            <a:rPr lang="en-US" sz="20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?”</a:t>
          </a:r>
          <a:endParaRPr lang="en-GB" sz="2000" kern="1200" dirty="0">
            <a:solidFill>
              <a:schemeClr val="tx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6482287" y="4142461"/>
        <a:ext cx="5164691" cy="1458515"/>
      </dsp:txXfrm>
    </dsp:sp>
    <dsp:sp modelId="{E06601CC-5784-8443-9DD6-713DC011829C}">
      <dsp:nvSpPr>
        <dsp:cNvPr id="0" name=""/>
        <dsp:cNvSpPr/>
      </dsp:nvSpPr>
      <dsp:spPr>
        <a:xfrm>
          <a:off x="545020" y="2071369"/>
          <a:ext cx="5467770" cy="1458515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>
              <a:solidFill>
                <a:schemeClr val="tx1"/>
              </a:solidFill>
            </a:rPr>
            <a:t>Việc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kết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luận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một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trường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hợp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là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xâm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hại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trẻ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em</a:t>
          </a:r>
          <a:r>
            <a:rPr lang="en-US" sz="2000" kern="1200" dirty="0">
              <a:solidFill>
                <a:schemeClr val="tx1"/>
              </a:solidFill>
            </a:rPr>
            <a:t>/</a:t>
          </a:r>
          <a:r>
            <a:rPr lang="en-US" sz="2000" kern="1200" dirty="0" err="1">
              <a:solidFill>
                <a:schemeClr val="tx1"/>
              </a:solidFill>
            </a:rPr>
            <a:t>bảo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vệ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trẻ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em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thuộc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thẩm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quyền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của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cán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bộ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chuyên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trách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bảo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vệ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trẻ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em</a:t>
          </a:r>
          <a:r>
            <a:rPr lang="en-US" sz="2000" kern="1200" dirty="0">
              <a:solidFill>
                <a:schemeClr val="tx1"/>
              </a:solidFill>
            </a:rPr>
            <a:t> </a:t>
          </a:r>
          <a:r>
            <a:rPr lang="en-US" sz="2000" kern="1200" dirty="0" err="1">
              <a:solidFill>
                <a:schemeClr val="tx1"/>
              </a:solidFill>
            </a:rPr>
            <a:t>của</a:t>
          </a:r>
          <a:r>
            <a:rPr lang="en-US" sz="2000" kern="1200" dirty="0">
              <a:solidFill>
                <a:schemeClr val="tx1"/>
              </a:solidFill>
            </a:rPr>
            <a:t> UBND</a:t>
          </a:r>
          <a:endParaRPr lang="en-GB" sz="2000" kern="1200" dirty="0">
            <a:solidFill>
              <a:schemeClr val="tx1"/>
            </a:solidFill>
          </a:endParaRPr>
        </a:p>
      </dsp:txBody>
      <dsp:txXfrm>
        <a:off x="545020" y="2071369"/>
        <a:ext cx="5467770" cy="1458515"/>
      </dsp:txXfrm>
    </dsp:sp>
  </dsp:spTree>
</dsp:drawing>
</file>

<file path=ppt/diagrams/drawing2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ED3106-3BBE-A744-AB3D-EDC44B57798F}">
      <dsp:nvSpPr>
        <dsp:cNvPr id="0" name=""/>
        <dsp:cNvSpPr/>
      </dsp:nvSpPr>
      <dsp:spPr>
        <a:xfrm>
          <a:off x="10715" y="947014"/>
          <a:ext cx="3202781" cy="4263702"/>
        </a:xfrm>
        <a:prstGeom prst="roundRect">
          <a:avLst>
            <a:gd name="adj" fmla="val 10000"/>
          </a:avLst>
        </a:prstGeom>
        <a:solidFill>
          <a:schemeClr val="accent4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ịnh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uẩn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ướng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ẫn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ề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ế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ào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ại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ề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endParaRPr lang="en-GB" sz="36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104521" y="1040820"/>
        <a:ext cx="3015169" cy="4076090"/>
      </dsp:txXfrm>
    </dsp:sp>
    <dsp:sp modelId="{D02F728A-04BB-2C47-95DF-D94ADBDE5C10}">
      <dsp:nvSpPr>
        <dsp:cNvPr id="0" name=""/>
        <dsp:cNvSpPr/>
      </dsp:nvSpPr>
      <dsp:spPr>
        <a:xfrm>
          <a:off x="3533775" y="2681720"/>
          <a:ext cx="678989" cy="79428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600" kern="1200" dirty="0">
            <a:solidFill>
              <a:schemeClr val="tx1"/>
            </a:solidFill>
          </a:endParaRPr>
        </a:p>
      </dsp:txBody>
      <dsp:txXfrm>
        <a:off x="3533775" y="2840578"/>
        <a:ext cx="475292" cy="476573"/>
      </dsp:txXfrm>
    </dsp:sp>
    <dsp:sp modelId="{415E425A-357C-F74D-9F05-787D623BC6D2}">
      <dsp:nvSpPr>
        <dsp:cNvPr id="0" name=""/>
        <dsp:cNvSpPr/>
      </dsp:nvSpPr>
      <dsp:spPr>
        <a:xfrm>
          <a:off x="4494609" y="947014"/>
          <a:ext cx="3202781" cy="4263702"/>
        </a:xfrm>
        <a:prstGeom prst="roundRect">
          <a:avLst>
            <a:gd name="adj" fmla="val 10000"/>
          </a:avLst>
        </a:prstGeom>
        <a:solidFill>
          <a:schemeClr val="accent2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ào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ạo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ề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ố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o</a:t>
          </a:r>
          <a:endParaRPr lang="en-GB" sz="36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4588415" y="1040820"/>
        <a:ext cx="3015169" cy="4076090"/>
      </dsp:txXfrm>
    </dsp:sp>
    <dsp:sp modelId="{F8F91768-28FC-044A-B0F0-656D581BD2B7}">
      <dsp:nvSpPr>
        <dsp:cNvPr id="0" name=""/>
        <dsp:cNvSpPr/>
      </dsp:nvSpPr>
      <dsp:spPr>
        <a:xfrm>
          <a:off x="8017668" y="2681720"/>
          <a:ext cx="678989" cy="79428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3600" kern="1200" dirty="0">
            <a:solidFill>
              <a:schemeClr val="tx1"/>
            </a:solidFill>
          </a:endParaRPr>
        </a:p>
      </dsp:txBody>
      <dsp:txXfrm>
        <a:off x="8017668" y="2840578"/>
        <a:ext cx="475292" cy="476573"/>
      </dsp:txXfrm>
    </dsp:sp>
    <dsp:sp modelId="{235B84D2-6F2C-ED47-980B-F2AD4E9913E9}">
      <dsp:nvSpPr>
        <dsp:cNvPr id="0" name=""/>
        <dsp:cNvSpPr/>
      </dsp:nvSpPr>
      <dsp:spPr>
        <a:xfrm>
          <a:off x="8978503" y="947014"/>
          <a:ext cx="3202781" cy="4263702"/>
        </a:xfrm>
        <a:prstGeom prst="roundRect">
          <a:avLst>
            <a:gd name="adj" fmla="val 10000"/>
          </a:avLst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ương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ện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qua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ó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ịch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ụ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BVTE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ể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ản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ứng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h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uyên</a:t>
          </a:r>
          <a:r>
            <a:rPr lang="en-GB" sz="3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hiệp</a:t>
          </a:r>
          <a:endParaRPr lang="en-GB" sz="36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9072309" y="1040820"/>
        <a:ext cx="3015169" cy="4076090"/>
      </dsp:txXfrm>
    </dsp:sp>
  </dsp:spTree>
</dsp:drawing>
</file>

<file path=ppt/diagrams/drawing2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16638F-4115-3E41-A397-A893AF9AAD64}">
      <dsp:nvSpPr>
        <dsp:cNvPr id="0" name=""/>
        <dsp:cNvSpPr/>
      </dsp:nvSpPr>
      <dsp:spPr>
        <a:xfrm>
          <a:off x="904561" y="0"/>
          <a:ext cx="10251697" cy="5989899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F9EAD4-6011-CD4B-BF57-578FD32A3C5F}">
      <dsp:nvSpPr>
        <dsp:cNvPr id="0" name=""/>
        <dsp:cNvSpPr/>
      </dsp:nvSpPr>
      <dsp:spPr>
        <a:xfrm>
          <a:off x="267059" y="532442"/>
          <a:ext cx="3333339" cy="4886391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1"/>
              </a:solidFill>
            </a:rPr>
            <a:t>Ở </a:t>
          </a:r>
          <a:r>
            <a:rPr lang="en-GB" sz="2400" kern="1200" dirty="0" err="1">
              <a:solidFill>
                <a:schemeClr val="tx1"/>
              </a:solidFill>
            </a:rPr>
            <a:t>nhữ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ướ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uyế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íc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ộ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ồ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ườ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ự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à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uyê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hiệp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ô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áo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á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qua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ạ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ề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ảo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ệ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em</a:t>
          </a:r>
          <a:r>
            <a:rPr lang="en-GB" sz="2400" kern="1200" dirty="0">
              <a:solidFill>
                <a:schemeClr val="tx1"/>
              </a:solidFill>
            </a:rPr>
            <a:t> [</a:t>
          </a:r>
          <a:r>
            <a:rPr lang="en-GB" sz="2400" kern="1200" dirty="0" err="1">
              <a:solidFill>
                <a:schemeClr val="tx1"/>
              </a:solidFill>
            </a:rPr>
            <a:t>Tố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áo</a:t>
          </a:r>
          <a:r>
            <a:rPr lang="en-GB" sz="2400" kern="1200" dirty="0">
              <a:solidFill>
                <a:schemeClr val="tx1"/>
              </a:solidFill>
            </a:rPr>
            <a:t>], </a:t>
          </a:r>
          <a:r>
            <a:rPr lang="vi-VN" sz="24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một vấn đề phát sinh được tăng lên khi có các yêu cầu Báo cáo bắt buộc ở một quốc gia</a:t>
          </a:r>
          <a:r>
            <a:rPr lang="en-GB" sz="2400" kern="1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rPr>
            <a:t>.</a:t>
          </a:r>
        </a:p>
      </dsp:txBody>
      <dsp:txXfrm>
        <a:off x="429779" y="695162"/>
        <a:ext cx="3007899" cy="4560951"/>
      </dsp:txXfrm>
    </dsp:sp>
    <dsp:sp modelId="{7F9CDAB9-794A-1C48-AB88-9E6EDFC49716}">
      <dsp:nvSpPr>
        <dsp:cNvPr id="0" name=""/>
        <dsp:cNvSpPr/>
      </dsp:nvSpPr>
      <dsp:spPr>
        <a:xfrm>
          <a:off x="4096375" y="474567"/>
          <a:ext cx="3986274" cy="5465088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Kế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quả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ượ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ă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ườ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ậ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ứ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ề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ố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áo</a:t>
          </a:r>
          <a:r>
            <a:rPr lang="en-GB" sz="2400" kern="1200" dirty="0">
              <a:solidFill>
                <a:schemeClr val="tx1"/>
              </a:solidFill>
            </a:rPr>
            <a:t> XHTE, </a:t>
          </a:r>
          <a:r>
            <a:rPr lang="en-GB" sz="2400" kern="1200" dirty="0" err="1">
              <a:solidFill>
                <a:schemeClr val="tx1"/>
              </a:solidFill>
            </a:rPr>
            <a:t>cô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ú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ó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x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ướ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gửi</a:t>
          </a:r>
          <a:r>
            <a:rPr lang="en-GB" sz="2400" b="1" kern="1200" dirty="0">
              <a:solidFill>
                <a:schemeClr val="tx1"/>
              </a:solidFill>
            </a:rPr>
            <a:t> </a:t>
          </a:r>
          <a:r>
            <a:rPr lang="en-GB" sz="2400" b="0" kern="1200" dirty="0" err="1">
              <a:solidFill>
                <a:schemeClr val="tx1"/>
              </a:solidFill>
            </a:rPr>
            <a:t>Tố</a:t>
          </a:r>
          <a:r>
            <a:rPr lang="en-GB" sz="2400" b="0" kern="1200" dirty="0">
              <a:solidFill>
                <a:schemeClr val="tx1"/>
              </a:solidFill>
            </a:rPr>
            <a:t> </a:t>
          </a:r>
          <a:r>
            <a:rPr lang="en-GB" sz="2400" b="0" kern="1200" dirty="0" err="1">
              <a:solidFill>
                <a:schemeClr val="tx1"/>
              </a:solidFill>
            </a:rPr>
            <a:t>cáo</a:t>
          </a:r>
          <a:r>
            <a:rPr lang="en-GB" sz="2400" b="0" kern="1200" dirty="0">
              <a:solidFill>
                <a:schemeClr val="tx1"/>
              </a:solidFill>
            </a:rPr>
            <a:t> </a:t>
          </a:r>
          <a:r>
            <a:rPr lang="en-GB" sz="2400" b="0" kern="1200" dirty="0" err="1">
              <a:solidFill>
                <a:schemeClr val="tx1"/>
              </a:solidFill>
            </a:rPr>
            <a:t>nhiều</a:t>
          </a:r>
          <a:r>
            <a:rPr lang="en-GB" sz="2400" b="0" kern="1200" dirty="0">
              <a:solidFill>
                <a:schemeClr val="tx1"/>
              </a:solidFill>
            </a:rPr>
            <a:t> </a:t>
          </a:r>
          <a:r>
            <a:rPr lang="en-GB" sz="2400" b="0" kern="1200" dirty="0" err="1">
              <a:solidFill>
                <a:schemeClr val="tx1"/>
              </a:solidFill>
            </a:rPr>
            <a:t>hơn</a:t>
          </a:r>
          <a:r>
            <a:rPr lang="en-GB" sz="2400" b="0" kern="1200" dirty="0">
              <a:solidFill>
                <a:schemeClr val="tx1"/>
              </a:solidFill>
            </a:rPr>
            <a:t> </a:t>
          </a:r>
          <a:r>
            <a:rPr lang="en-GB" sz="2400" b="0" kern="1200" dirty="0" err="1">
              <a:solidFill>
                <a:schemeClr val="tx1"/>
              </a:solidFill>
            </a:rPr>
            <a:t>làm</a:t>
          </a:r>
          <a:r>
            <a:rPr lang="en-GB" sz="2400" b="0" kern="1200" dirty="0">
              <a:solidFill>
                <a:schemeClr val="tx1"/>
              </a:solidFill>
            </a:rPr>
            <a:t> </a:t>
          </a:r>
          <a:r>
            <a:rPr lang="en-GB" sz="2400" b="0" kern="1200" dirty="0" err="1">
              <a:solidFill>
                <a:schemeClr val="tx1"/>
              </a:solidFill>
            </a:rPr>
            <a:t>gia</a:t>
          </a:r>
          <a:r>
            <a:rPr lang="en-GB" sz="2400" b="0" kern="1200" dirty="0">
              <a:solidFill>
                <a:schemeClr val="tx1"/>
              </a:solidFill>
            </a:rPr>
            <a:t> </a:t>
          </a:r>
          <a:r>
            <a:rPr lang="en-GB" sz="2400" b="0" kern="1200" dirty="0" err="1">
              <a:solidFill>
                <a:schemeClr val="tx1"/>
              </a:solidFill>
            </a:rPr>
            <a:t>tă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b="1" kern="1200" dirty="0" err="1">
              <a:solidFill>
                <a:schemeClr val="tx1"/>
              </a:solidFill>
            </a:rPr>
            <a:t>khối</a:t>
          </a:r>
          <a:r>
            <a:rPr lang="en-GB" sz="2400" b="1" kern="1200" dirty="0">
              <a:solidFill>
                <a:schemeClr val="tx1"/>
              </a:solidFill>
            </a:rPr>
            <a:t> </a:t>
          </a:r>
          <a:r>
            <a:rPr lang="en-GB" sz="2400" b="1" kern="1200" dirty="0" err="1">
              <a:solidFill>
                <a:schemeClr val="tx1"/>
              </a:solidFill>
            </a:rPr>
            <a:t>lượng</a:t>
          </a:r>
          <a:r>
            <a:rPr lang="en-GB" sz="2400" b="1" kern="1200" dirty="0">
              <a:solidFill>
                <a:schemeClr val="tx1"/>
              </a:solidFill>
            </a:rPr>
            <a:t> </a:t>
          </a:r>
          <a:r>
            <a:rPr lang="en-GB" sz="2400" b="1" kern="1200" dirty="0" err="1">
              <a:solidFill>
                <a:schemeClr val="tx1"/>
              </a:solidFill>
            </a:rPr>
            <a:t>công</a:t>
          </a:r>
          <a:r>
            <a:rPr lang="en-GB" sz="2400" b="1" kern="1200" dirty="0">
              <a:solidFill>
                <a:schemeClr val="tx1"/>
              </a:solidFill>
            </a:rPr>
            <a:t> </a:t>
          </a:r>
          <a:r>
            <a:rPr lang="en-GB" sz="2400" b="1" kern="1200" dirty="0" err="1">
              <a:solidFill>
                <a:schemeClr val="tx1"/>
              </a:solidFill>
            </a:rPr>
            <a:t>việ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ủ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á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bộ</a:t>
          </a:r>
          <a:r>
            <a:rPr lang="en-GB" sz="2400" kern="1200" dirty="0">
              <a:solidFill>
                <a:schemeClr val="tx1"/>
              </a:solidFill>
            </a:rPr>
            <a:t> BVTE </a:t>
          </a:r>
          <a:r>
            <a:rPr lang="en-GB" sz="2400" kern="1200" dirty="0" err="1">
              <a:solidFill>
                <a:schemeClr val="tx1"/>
              </a:solidFill>
            </a:rPr>
            <a:t>để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á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giá</a:t>
          </a:r>
          <a:r>
            <a:rPr lang="en-GB" sz="2400" kern="1200" dirty="0">
              <a:solidFill>
                <a:schemeClr val="tx1"/>
              </a:solidFill>
            </a:rPr>
            <a:t> tin </a:t>
          </a:r>
          <a:r>
            <a:rPr lang="en-GB" sz="2400" kern="1200" dirty="0" err="1">
              <a:solidFill>
                <a:schemeClr val="tx1"/>
              </a:solidFill>
            </a:rPr>
            <a:t>báo</a:t>
          </a:r>
          <a:r>
            <a:rPr lang="en-GB" sz="2400" kern="1200" dirty="0">
              <a:solidFill>
                <a:schemeClr val="tx1"/>
              </a:solidFill>
            </a:rPr>
            <a:t>.  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Khoảng</a:t>
          </a:r>
          <a:r>
            <a:rPr lang="en-GB" sz="2400" kern="1200" dirty="0">
              <a:solidFill>
                <a:schemeClr val="tx1"/>
              </a:solidFill>
            </a:rPr>
            <a:t> 2/3 tin </a:t>
          </a:r>
          <a:r>
            <a:rPr lang="en-GB" sz="2400" kern="1200" dirty="0" err="1">
              <a:solidFill>
                <a:schemeClr val="tx1"/>
              </a:solidFill>
            </a:rPr>
            <a:t>tố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áo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a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ù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ượ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ết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uậ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ô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phả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l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xâ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ạ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em</a:t>
          </a:r>
          <a:r>
            <a:rPr lang="en-GB" sz="2400" kern="1200" dirty="0">
              <a:solidFill>
                <a:schemeClr val="tx1"/>
              </a:solidFill>
            </a:rPr>
            <a:t> – </a:t>
          </a:r>
          <a:r>
            <a:rPr lang="en-GB" sz="2400" kern="1200" dirty="0" err="1">
              <a:solidFill>
                <a:schemeClr val="tx1"/>
              </a:solidFill>
            </a:rPr>
            <a:t>mặ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dù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ũ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ó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ữ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ấ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ề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khá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e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à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gi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ì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a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phả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đố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mặt</a:t>
          </a:r>
          <a:r>
            <a:rPr lang="en-GB" sz="2400" kern="1200" dirty="0">
              <a:solidFill>
                <a:schemeClr val="tx1"/>
              </a:solidFill>
            </a:rPr>
            <a:t>.</a:t>
          </a:r>
        </a:p>
      </dsp:txBody>
      <dsp:txXfrm>
        <a:off x="4290969" y="669161"/>
        <a:ext cx="3597086" cy="5075900"/>
      </dsp:txXfrm>
    </dsp:sp>
    <dsp:sp modelId="{9CB744BC-7F0B-BF43-8732-C7240CC46158}">
      <dsp:nvSpPr>
        <dsp:cNvPr id="0" name=""/>
        <dsp:cNvSpPr/>
      </dsp:nvSpPr>
      <dsp:spPr>
        <a:xfrm>
          <a:off x="8509931" y="0"/>
          <a:ext cx="3333339" cy="5989899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 err="1">
              <a:solidFill>
                <a:schemeClr val="tx1"/>
              </a:solidFill>
            </a:rPr>
            <a:t>Kh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khuyến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khích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ộ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đồ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và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gườ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hực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hành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huyên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ghiệp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hô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báo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ác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quan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gạ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về</a:t>
          </a:r>
          <a:r>
            <a:rPr lang="en-GB" sz="2800" kern="1200" dirty="0">
              <a:solidFill>
                <a:schemeClr val="tx1"/>
              </a:solidFill>
            </a:rPr>
            <a:t> an </a:t>
          </a:r>
          <a:r>
            <a:rPr lang="en-GB" sz="2800" kern="1200" dirty="0" err="1">
              <a:solidFill>
                <a:schemeClr val="tx1"/>
              </a:solidFill>
            </a:rPr>
            <a:t>toàn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ủa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một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đứa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rẻ</a:t>
          </a:r>
          <a:r>
            <a:rPr lang="en-GB" sz="2800" kern="1200" dirty="0">
              <a:solidFill>
                <a:schemeClr val="tx1"/>
              </a:solidFill>
            </a:rPr>
            <a:t>, </a:t>
          </a:r>
          <a:r>
            <a:rPr lang="en-GB" sz="2800" kern="1200" dirty="0" err="1">
              <a:solidFill>
                <a:schemeClr val="tx1"/>
              </a:solidFill>
            </a:rPr>
            <a:t>điều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quan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rọ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là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hướ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dẫn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ho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ộ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đồ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và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gười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hực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hành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huyên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ghiệp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biết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hế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nào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là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một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trường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hợp</a:t>
          </a:r>
          <a:r>
            <a:rPr lang="en-GB" sz="2800" kern="1200" dirty="0">
              <a:solidFill>
                <a:schemeClr val="tx1"/>
              </a:solidFill>
            </a:rPr>
            <a:t> XHTE </a:t>
          </a:r>
          <a:r>
            <a:rPr lang="en-GB" sz="2800" kern="1200" dirty="0" err="1">
              <a:solidFill>
                <a:schemeClr val="tx1"/>
              </a:solidFill>
            </a:rPr>
            <a:t>và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cách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đánh</a:t>
          </a:r>
          <a:r>
            <a:rPr lang="en-GB" sz="2800" kern="1200" dirty="0">
              <a:solidFill>
                <a:schemeClr val="tx1"/>
              </a:solidFill>
            </a:rPr>
            <a:t> </a:t>
          </a:r>
          <a:r>
            <a:rPr lang="en-GB" sz="2800" kern="1200" dirty="0" err="1">
              <a:solidFill>
                <a:schemeClr val="tx1"/>
              </a:solidFill>
            </a:rPr>
            <a:t>giá</a:t>
          </a:r>
          <a:r>
            <a:rPr lang="en-GB" sz="2800" kern="1200" dirty="0">
              <a:solidFill>
                <a:schemeClr val="tx1"/>
              </a:solidFill>
            </a:rPr>
            <a:t>. </a:t>
          </a:r>
        </a:p>
      </dsp:txBody>
      <dsp:txXfrm>
        <a:off x="8672651" y="162720"/>
        <a:ext cx="3007899" cy="5664459"/>
      </dsp:txXfrm>
    </dsp:sp>
  </dsp:spTree>
</dsp:drawing>
</file>

<file path=ppt/diagrams/drawing2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49BDAD-3AD6-F04C-B66F-02C567D4C785}">
      <dsp:nvSpPr>
        <dsp:cNvPr id="0" name=""/>
        <dsp:cNvSpPr/>
      </dsp:nvSpPr>
      <dsp:spPr>
        <a:xfrm>
          <a:off x="2345531" y="2682"/>
          <a:ext cx="3333749" cy="1666874"/>
        </a:xfrm>
        <a:prstGeom prst="roundRect">
          <a:avLst>
            <a:gd name="adj" fmla="val 10000"/>
          </a:avLst>
        </a:prstGeom>
        <a:solidFill>
          <a:schemeClr val="accent4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Đị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uẩ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ông</a:t>
          </a:r>
          <a:r>
            <a:rPr lang="en-GB" sz="2400" kern="1200" dirty="0">
              <a:solidFill>
                <a:schemeClr val="tx1"/>
              </a:solidFill>
            </a:rPr>
            <a:t> qua </a:t>
          </a:r>
          <a:r>
            <a:rPr lang="en-GB" sz="2400" kern="1200" dirty="0" err="1">
              <a:solidFill>
                <a:schemeClr val="tx1"/>
              </a:solidFill>
            </a:rPr>
            <a:t>nhữ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qua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ạ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ề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h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ầu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ăm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ó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ủa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ẻ</a:t>
          </a:r>
          <a:endParaRPr lang="en-GB" sz="2400" kern="1200" dirty="0">
            <a:solidFill>
              <a:schemeClr val="tx1"/>
            </a:solidFill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Thự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iệ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rước</a:t>
          </a:r>
          <a:endParaRPr lang="en-GB" sz="2400" kern="1200" dirty="0">
            <a:solidFill>
              <a:schemeClr val="tx1"/>
            </a:solidFill>
          </a:endParaRPr>
        </a:p>
      </dsp:txBody>
      <dsp:txXfrm>
        <a:off x="2394352" y="51503"/>
        <a:ext cx="3236107" cy="1569232"/>
      </dsp:txXfrm>
    </dsp:sp>
    <dsp:sp modelId="{98C9301A-4A1A-094F-AB09-63E3887F9B74}">
      <dsp:nvSpPr>
        <dsp:cNvPr id="0" name=""/>
        <dsp:cNvSpPr/>
      </dsp:nvSpPr>
      <dsp:spPr>
        <a:xfrm>
          <a:off x="2678906" y="1669557"/>
          <a:ext cx="333375" cy="1250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50156"/>
              </a:lnTo>
              <a:lnTo>
                <a:pt x="333375" y="1250156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5791339-FFB9-E740-A556-1D2B133B07C3}">
      <dsp:nvSpPr>
        <dsp:cNvPr id="0" name=""/>
        <dsp:cNvSpPr/>
      </dsp:nvSpPr>
      <dsp:spPr>
        <a:xfrm>
          <a:off x="3012281" y="2086276"/>
          <a:ext cx="2666999" cy="166687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005" tIns="26670" rIns="40005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 err="1"/>
            <a:t>Có</a:t>
          </a:r>
          <a:r>
            <a:rPr lang="en-GB" sz="2100" kern="1200" dirty="0"/>
            <a:t> </a:t>
          </a:r>
          <a:r>
            <a:rPr lang="en-GB" sz="2100" kern="1200" dirty="0" err="1"/>
            <a:t>nghi</a:t>
          </a:r>
          <a:r>
            <a:rPr lang="en-GB" sz="2100" kern="1200" dirty="0"/>
            <a:t> </a:t>
          </a:r>
          <a:r>
            <a:rPr lang="en-GB" sz="2100" kern="1200" dirty="0" err="1"/>
            <a:t>ngại</a:t>
          </a:r>
          <a:r>
            <a:rPr lang="en-GB" sz="2100" kern="1200" dirty="0"/>
            <a:t> </a:t>
          </a:r>
          <a:r>
            <a:rPr lang="en-GB" sz="2100" kern="1200" dirty="0" err="1"/>
            <a:t>liên</a:t>
          </a:r>
          <a:r>
            <a:rPr lang="en-GB" sz="2100" kern="1200" dirty="0"/>
            <a:t> </a:t>
          </a:r>
          <a:r>
            <a:rPr lang="en-GB" sz="2100" kern="1200" dirty="0" err="1"/>
            <a:t>quan</a:t>
          </a:r>
          <a:r>
            <a:rPr lang="en-GB" sz="2100" kern="1200" dirty="0"/>
            <a:t> </a:t>
          </a:r>
          <a:r>
            <a:rPr lang="en-GB" sz="2100" kern="1200" dirty="0" err="1"/>
            <a:t>tới</a:t>
          </a:r>
          <a:r>
            <a:rPr lang="en-GB" sz="2100" kern="1200" dirty="0"/>
            <a:t> </a:t>
          </a:r>
          <a:r>
            <a:rPr lang="en-GB" sz="2100" kern="1200" dirty="0" err="1"/>
            <a:t>việc</a:t>
          </a:r>
          <a:r>
            <a:rPr lang="en-GB" sz="2100" kern="1200" dirty="0"/>
            <a:t> </a:t>
          </a:r>
          <a:r>
            <a:rPr lang="en-GB" sz="2100" kern="1200" dirty="0" err="1"/>
            <a:t>nhu</a:t>
          </a:r>
          <a:r>
            <a:rPr lang="en-GB" sz="2100" kern="1200" dirty="0"/>
            <a:t> </a:t>
          </a:r>
          <a:r>
            <a:rPr lang="en-GB" sz="2100" kern="1200" dirty="0" err="1"/>
            <a:t>cầu</a:t>
          </a:r>
          <a:r>
            <a:rPr lang="en-GB" sz="2100" kern="1200" dirty="0"/>
            <a:t> </a:t>
          </a:r>
          <a:r>
            <a:rPr lang="en-GB" sz="2100" kern="1200" dirty="0" err="1"/>
            <a:t>chăm</a:t>
          </a:r>
          <a:r>
            <a:rPr lang="en-GB" sz="2100" kern="1200" dirty="0"/>
            <a:t> </a:t>
          </a:r>
          <a:r>
            <a:rPr lang="en-GB" sz="2100" kern="1200" dirty="0" err="1"/>
            <a:t>sóc</a:t>
          </a:r>
          <a:r>
            <a:rPr lang="en-GB" sz="2100" kern="1200" dirty="0"/>
            <a:t> </a:t>
          </a:r>
          <a:r>
            <a:rPr lang="en-GB" sz="2100" kern="1200" dirty="0" err="1"/>
            <a:t>của</a:t>
          </a:r>
          <a:r>
            <a:rPr lang="en-GB" sz="2100" kern="1200" dirty="0"/>
            <a:t> </a:t>
          </a:r>
          <a:r>
            <a:rPr lang="en-GB" sz="2100" kern="1200" dirty="0" err="1"/>
            <a:t>trẻ</a:t>
          </a:r>
          <a:r>
            <a:rPr lang="en-GB" sz="2100" kern="1200" dirty="0"/>
            <a:t> </a:t>
          </a:r>
          <a:r>
            <a:rPr lang="en-GB" sz="2100" kern="1200" dirty="0" err="1"/>
            <a:t>được</a:t>
          </a:r>
          <a:r>
            <a:rPr lang="en-GB" sz="2100" kern="1200" dirty="0"/>
            <a:t> </a:t>
          </a:r>
          <a:r>
            <a:rPr lang="en-GB" sz="2100" kern="1200" dirty="0" err="1"/>
            <a:t>đáp</a:t>
          </a:r>
          <a:r>
            <a:rPr lang="en-GB" sz="2100" kern="1200" dirty="0"/>
            <a:t> </a:t>
          </a:r>
          <a:r>
            <a:rPr lang="en-GB" sz="2100" kern="1200" dirty="0" err="1"/>
            <a:t>ứng</a:t>
          </a:r>
          <a:r>
            <a:rPr lang="en-GB" sz="2100" kern="1200" dirty="0"/>
            <a:t> </a:t>
          </a:r>
          <a:r>
            <a:rPr lang="en-GB" sz="2100" kern="1200" dirty="0" err="1"/>
            <a:t>phù</a:t>
          </a:r>
          <a:r>
            <a:rPr lang="en-GB" sz="2100" kern="1200" dirty="0"/>
            <a:t> </a:t>
          </a:r>
          <a:r>
            <a:rPr lang="en-GB" sz="2100" kern="1200" dirty="0" err="1"/>
            <a:t>hợp</a:t>
          </a:r>
          <a:r>
            <a:rPr lang="en-GB" sz="2100" kern="1200" dirty="0"/>
            <a:t> </a:t>
          </a:r>
          <a:r>
            <a:rPr lang="en-GB" sz="2100" kern="1200" dirty="0" err="1"/>
            <a:t>không</a:t>
          </a:r>
          <a:r>
            <a:rPr lang="en-GB" sz="2100" kern="1200" dirty="0"/>
            <a:t>?</a:t>
          </a:r>
        </a:p>
      </dsp:txBody>
      <dsp:txXfrm>
        <a:off x="3061102" y="2135097"/>
        <a:ext cx="2569357" cy="1569232"/>
      </dsp:txXfrm>
    </dsp:sp>
    <dsp:sp modelId="{09B29549-2FA6-6E4A-AF15-FD64E7A5E52D}">
      <dsp:nvSpPr>
        <dsp:cNvPr id="0" name=""/>
        <dsp:cNvSpPr/>
      </dsp:nvSpPr>
      <dsp:spPr>
        <a:xfrm>
          <a:off x="2678906" y="1669557"/>
          <a:ext cx="333375" cy="33337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33749"/>
              </a:lnTo>
              <a:lnTo>
                <a:pt x="333375" y="3333749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4136FE-0636-5542-AB8D-681FA9F127A8}">
      <dsp:nvSpPr>
        <dsp:cNvPr id="0" name=""/>
        <dsp:cNvSpPr/>
      </dsp:nvSpPr>
      <dsp:spPr>
        <a:xfrm>
          <a:off x="3012281" y="4169870"/>
          <a:ext cx="2666999" cy="166687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005" tIns="26670" rIns="40005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 err="1"/>
            <a:t>Sử</a:t>
          </a:r>
          <a:r>
            <a:rPr lang="en-GB" sz="2100" kern="1200" dirty="0"/>
            <a:t> </a:t>
          </a:r>
          <a:r>
            <a:rPr lang="en-GB" sz="2100" kern="1200" dirty="0" err="1"/>
            <a:t>dụng</a:t>
          </a:r>
          <a:r>
            <a:rPr lang="en-GB" sz="2100" kern="1200" dirty="0"/>
            <a:t> </a:t>
          </a:r>
          <a:r>
            <a:rPr lang="en-GB" sz="2100" kern="1200" dirty="0" err="1"/>
            <a:t>những</a:t>
          </a:r>
          <a:r>
            <a:rPr lang="en-GB" sz="2100" kern="1200" dirty="0"/>
            <a:t> </a:t>
          </a:r>
          <a:r>
            <a:rPr lang="en-GB" sz="2100" kern="1200" dirty="0" err="1"/>
            <a:t>chỉ</a:t>
          </a:r>
          <a:r>
            <a:rPr lang="en-GB" sz="2100" kern="1200" dirty="0"/>
            <a:t> </a:t>
          </a:r>
          <a:r>
            <a:rPr lang="en-GB" sz="2100" kern="1200" dirty="0" err="1"/>
            <a:t>báo</a:t>
          </a:r>
          <a:r>
            <a:rPr lang="en-GB" sz="2100" kern="1200" dirty="0"/>
            <a:t> </a:t>
          </a:r>
          <a:r>
            <a:rPr lang="en-GB" sz="2100" kern="1200" dirty="0" err="1"/>
            <a:t>về</a:t>
          </a:r>
          <a:r>
            <a:rPr lang="en-GB" sz="2100" kern="1200" dirty="0"/>
            <a:t> </a:t>
          </a:r>
          <a:r>
            <a:rPr lang="en-GB" sz="2100" kern="1200" dirty="0" err="1"/>
            <a:t>nhu</a:t>
          </a:r>
          <a:r>
            <a:rPr lang="en-GB" sz="2100" kern="1200" dirty="0"/>
            <a:t> </a:t>
          </a:r>
          <a:r>
            <a:rPr lang="en-GB" sz="2100" kern="1200" dirty="0" err="1"/>
            <a:t>cầu</a:t>
          </a:r>
          <a:r>
            <a:rPr lang="en-GB" sz="2100" kern="1200" dirty="0"/>
            <a:t> </a:t>
          </a:r>
          <a:r>
            <a:rPr lang="en-GB" sz="2100" kern="1200" dirty="0" err="1"/>
            <a:t>chăm</a:t>
          </a:r>
          <a:r>
            <a:rPr lang="en-GB" sz="2100" kern="1200" dirty="0"/>
            <a:t> </a:t>
          </a:r>
          <a:r>
            <a:rPr lang="en-GB" sz="2100" kern="1200" dirty="0" err="1"/>
            <a:t>sóc</a:t>
          </a:r>
          <a:r>
            <a:rPr lang="en-GB" sz="2100" kern="1200" dirty="0"/>
            <a:t> </a:t>
          </a:r>
          <a:r>
            <a:rPr lang="en-GB" sz="2100" kern="1200" dirty="0" err="1"/>
            <a:t>trẻ</a:t>
          </a:r>
          <a:r>
            <a:rPr lang="en-GB" sz="2100" kern="1200" dirty="0"/>
            <a:t> </a:t>
          </a:r>
          <a:r>
            <a:rPr lang="en-GB" sz="2100" kern="1200" dirty="0" err="1"/>
            <a:t>em</a:t>
          </a:r>
          <a:endParaRPr lang="en-GB" sz="2100" kern="1200" dirty="0"/>
        </a:p>
      </dsp:txBody>
      <dsp:txXfrm>
        <a:off x="3061102" y="4218691"/>
        <a:ext cx="2569357" cy="1569232"/>
      </dsp:txXfrm>
    </dsp:sp>
    <dsp:sp modelId="{985E64E8-9C44-9747-B423-5CAEBF82F109}">
      <dsp:nvSpPr>
        <dsp:cNvPr id="0" name=""/>
        <dsp:cNvSpPr/>
      </dsp:nvSpPr>
      <dsp:spPr>
        <a:xfrm>
          <a:off x="6721078" y="37403"/>
          <a:ext cx="3333749" cy="1666874"/>
        </a:xfrm>
        <a:prstGeom prst="roundRect">
          <a:avLst>
            <a:gd name="adj" fmla="val 10000"/>
          </a:avLst>
        </a:prstGeom>
        <a:solidFill>
          <a:schemeClr val="accent2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Định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chuẩ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thông</a:t>
          </a:r>
          <a:r>
            <a:rPr lang="en-GB" sz="2400" kern="1200" dirty="0">
              <a:solidFill>
                <a:schemeClr val="tx1"/>
              </a:solidFill>
            </a:rPr>
            <a:t> qua </a:t>
          </a:r>
          <a:r>
            <a:rPr lang="en-GB" sz="2400" kern="1200" dirty="0" err="1">
              <a:solidFill>
                <a:schemeClr val="tx1"/>
              </a:solidFill>
            </a:rPr>
            <a:t>những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qua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ngại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về</a:t>
          </a:r>
          <a:r>
            <a:rPr lang="en-GB" sz="2400" kern="1200" dirty="0">
              <a:solidFill>
                <a:schemeClr val="tx1"/>
              </a:solidFill>
            </a:rPr>
            <a:t> XHTE.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</a:rPr>
            <a:t>Thực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hiện</a:t>
          </a:r>
          <a:r>
            <a:rPr lang="en-GB" sz="2400" kern="1200" dirty="0">
              <a:solidFill>
                <a:schemeClr val="tx1"/>
              </a:solidFill>
            </a:rPr>
            <a:t> </a:t>
          </a:r>
          <a:r>
            <a:rPr lang="en-GB" sz="2400" kern="1200" dirty="0" err="1">
              <a:solidFill>
                <a:schemeClr val="tx1"/>
              </a:solidFill>
            </a:rPr>
            <a:t>sau</a:t>
          </a:r>
          <a:endParaRPr lang="en-GB" sz="2400" kern="1200" dirty="0">
            <a:solidFill>
              <a:schemeClr val="tx1"/>
            </a:solidFill>
          </a:endParaRPr>
        </a:p>
      </dsp:txBody>
      <dsp:txXfrm>
        <a:off x="6769899" y="86224"/>
        <a:ext cx="3236107" cy="1569232"/>
      </dsp:txXfrm>
    </dsp:sp>
    <dsp:sp modelId="{1ECF5AE4-C462-9645-9E48-872013FE2746}">
      <dsp:nvSpPr>
        <dsp:cNvPr id="0" name=""/>
        <dsp:cNvSpPr/>
      </dsp:nvSpPr>
      <dsp:spPr>
        <a:xfrm>
          <a:off x="7054453" y="1704278"/>
          <a:ext cx="125015" cy="12154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15435"/>
              </a:lnTo>
              <a:lnTo>
                <a:pt x="125015" y="1215435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A059B37-A5C6-624F-802D-77AAE74BE397}">
      <dsp:nvSpPr>
        <dsp:cNvPr id="0" name=""/>
        <dsp:cNvSpPr/>
      </dsp:nvSpPr>
      <dsp:spPr>
        <a:xfrm>
          <a:off x="7179468" y="2086276"/>
          <a:ext cx="2666999" cy="166687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005" tIns="26670" rIns="40005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 err="1"/>
            <a:t>Có</a:t>
          </a:r>
          <a:r>
            <a:rPr lang="en-GB" sz="2100" kern="1200" dirty="0"/>
            <a:t> </a:t>
          </a:r>
          <a:r>
            <a:rPr lang="en-GB" sz="2100" kern="1200" dirty="0" err="1"/>
            <a:t>nghi</a:t>
          </a:r>
          <a:r>
            <a:rPr lang="en-GB" sz="2100" kern="1200" dirty="0"/>
            <a:t> </a:t>
          </a:r>
          <a:r>
            <a:rPr lang="en-GB" sz="2100" kern="1200" dirty="0" err="1"/>
            <a:t>ngại</a:t>
          </a:r>
          <a:r>
            <a:rPr lang="en-GB" sz="2100" kern="1200" dirty="0"/>
            <a:t> </a:t>
          </a:r>
          <a:r>
            <a:rPr lang="en-GB" sz="2100" kern="1200" dirty="0" err="1"/>
            <a:t>liên</a:t>
          </a:r>
          <a:r>
            <a:rPr lang="en-GB" sz="2100" kern="1200" dirty="0"/>
            <a:t> </a:t>
          </a:r>
          <a:r>
            <a:rPr lang="en-GB" sz="2100" kern="1200" dirty="0" err="1"/>
            <a:t>quan</a:t>
          </a:r>
          <a:r>
            <a:rPr lang="en-GB" sz="2100" kern="1200" dirty="0"/>
            <a:t> </a:t>
          </a:r>
          <a:r>
            <a:rPr lang="en-GB" sz="2100" kern="1200" dirty="0" err="1"/>
            <a:t>tới</a:t>
          </a:r>
          <a:r>
            <a:rPr lang="en-GB" sz="2100" kern="1200" dirty="0"/>
            <a:t> </a:t>
          </a:r>
          <a:r>
            <a:rPr lang="en-GB" sz="2100" kern="1200" dirty="0" err="1"/>
            <a:t>việc</a:t>
          </a:r>
          <a:r>
            <a:rPr lang="en-GB" sz="2100" kern="1200" dirty="0"/>
            <a:t> </a:t>
          </a:r>
          <a:r>
            <a:rPr lang="en-GB" sz="2100" kern="1200" dirty="0" err="1"/>
            <a:t>trẻ</a:t>
          </a:r>
          <a:r>
            <a:rPr lang="en-GB" sz="2100" kern="1200" dirty="0"/>
            <a:t> </a:t>
          </a:r>
          <a:r>
            <a:rPr lang="en-GB" sz="2100" kern="1200" dirty="0" err="1"/>
            <a:t>bị</a:t>
          </a:r>
          <a:r>
            <a:rPr lang="en-GB" sz="2100" kern="1200" dirty="0"/>
            <a:t> </a:t>
          </a:r>
          <a:r>
            <a:rPr lang="en-GB" sz="2100" kern="1200" dirty="0" err="1"/>
            <a:t>xâm</a:t>
          </a:r>
          <a:r>
            <a:rPr lang="en-GB" sz="2100" kern="1200" dirty="0"/>
            <a:t> </a:t>
          </a:r>
          <a:r>
            <a:rPr lang="en-GB" sz="2100" kern="1200" dirty="0" err="1"/>
            <a:t>hại</a:t>
          </a:r>
          <a:r>
            <a:rPr lang="en-GB" sz="2100" kern="1200" dirty="0"/>
            <a:t> </a:t>
          </a:r>
          <a:r>
            <a:rPr lang="en-GB" sz="2100" kern="1200" dirty="0" err="1"/>
            <a:t>không</a:t>
          </a:r>
          <a:r>
            <a:rPr lang="en-GB" sz="2100" kern="1200" dirty="0"/>
            <a:t>?</a:t>
          </a:r>
        </a:p>
      </dsp:txBody>
      <dsp:txXfrm>
        <a:off x="7228289" y="2135097"/>
        <a:ext cx="2569357" cy="1569232"/>
      </dsp:txXfrm>
    </dsp:sp>
    <dsp:sp modelId="{EFF07E58-C768-4C4A-9C2A-2AD9C13F0503}">
      <dsp:nvSpPr>
        <dsp:cNvPr id="0" name=""/>
        <dsp:cNvSpPr/>
      </dsp:nvSpPr>
      <dsp:spPr>
        <a:xfrm>
          <a:off x="7054453" y="1704278"/>
          <a:ext cx="125015" cy="329902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99028"/>
              </a:lnTo>
              <a:lnTo>
                <a:pt x="125015" y="3299028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11AE43-3748-134F-A0FB-C772F61C537E}">
      <dsp:nvSpPr>
        <dsp:cNvPr id="0" name=""/>
        <dsp:cNvSpPr/>
      </dsp:nvSpPr>
      <dsp:spPr>
        <a:xfrm>
          <a:off x="7179468" y="4169870"/>
          <a:ext cx="2666999" cy="166687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005" tIns="26670" rIns="40005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 err="1"/>
            <a:t>Sử</a:t>
          </a:r>
          <a:r>
            <a:rPr lang="en-GB" sz="2100" kern="1200" dirty="0"/>
            <a:t> </a:t>
          </a:r>
          <a:r>
            <a:rPr lang="en-GB" sz="2100" kern="1200" dirty="0" err="1"/>
            <a:t>dụng</a:t>
          </a:r>
          <a:r>
            <a:rPr lang="en-GB" sz="2100" kern="1200" dirty="0"/>
            <a:t> </a:t>
          </a:r>
          <a:r>
            <a:rPr lang="en-GB" sz="2100" kern="1200" dirty="0" err="1"/>
            <a:t>những</a:t>
          </a:r>
          <a:r>
            <a:rPr lang="en-GB" sz="2100" kern="1200" dirty="0"/>
            <a:t> </a:t>
          </a:r>
          <a:r>
            <a:rPr lang="en-GB" sz="2100" kern="1200" dirty="0" err="1"/>
            <a:t>chỉ</a:t>
          </a:r>
          <a:r>
            <a:rPr lang="en-GB" sz="2100" kern="1200" dirty="0"/>
            <a:t> </a:t>
          </a:r>
          <a:r>
            <a:rPr lang="en-GB" sz="2100" kern="1200" dirty="0" err="1"/>
            <a:t>báo</a:t>
          </a:r>
          <a:r>
            <a:rPr lang="en-GB" sz="2100" kern="1200" dirty="0"/>
            <a:t> </a:t>
          </a:r>
          <a:r>
            <a:rPr lang="en-GB" sz="2100" kern="1200" dirty="0" err="1"/>
            <a:t>về</a:t>
          </a:r>
          <a:r>
            <a:rPr lang="en-GB" sz="2100" kern="1200" dirty="0"/>
            <a:t> XHTE</a:t>
          </a:r>
        </a:p>
      </dsp:txBody>
      <dsp:txXfrm>
        <a:off x="7228289" y="4218691"/>
        <a:ext cx="2569357" cy="1569232"/>
      </dsp:txXfrm>
    </dsp:sp>
  </dsp:spTree>
</dsp:drawing>
</file>

<file path=ppt/diagrams/drawing2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C421CB-361D-EE47-B345-AF29AB3DBB5C}">
      <dsp:nvSpPr>
        <dsp:cNvPr id="0" name=""/>
        <dsp:cNvSpPr/>
      </dsp:nvSpPr>
      <dsp:spPr>
        <a:xfrm>
          <a:off x="914399" y="0"/>
          <a:ext cx="10363200" cy="5688956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530E863-DDE4-3940-8C9C-912AEC9B2601}">
      <dsp:nvSpPr>
        <dsp:cNvPr id="0" name=""/>
        <dsp:cNvSpPr/>
      </dsp:nvSpPr>
      <dsp:spPr>
        <a:xfrm>
          <a:off x="6632" y="1035936"/>
          <a:ext cx="3718662" cy="3617083"/>
        </a:xfrm>
        <a:prstGeom prst="roundRect">
          <a:avLst/>
        </a:prstGeom>
        <a:solidFill>
          <a:schemeClr val="accent4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iều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ơn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1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áp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ứng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ở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ức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ù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sp:txBody>
      <dsp:txXfrm>
        <a:off x="183203" y="1212507"/>
        <a:ext cx="3365520" cy="3263941"/>
      </dsp:txXfrm>
    </dsp:sp>
    <dsp:sp modelId="{6EFC796D-7B0F-7C43-BE6A-C2A6D43F83CB}">
      <dsp:nvSpPr>
        <dsp:cNvPr id="0" name=""/>
        <dsp:cNvSpPr/>
      </dsp:nvSpPr>
      <dsp:spPr>
        <a:xfrm>
          <a:off x="4236668" y="943331"/>
          <a:ext cx="3718662" cy="3802293"/>
        </a:xfrm>
        <a:prstGeom prst="roundRect">
          <a:avLst/>
        </a:prstGeom>
        <a:solidFill>
          <a:schemeClr val="accent2">
            <a:lumMod val="60000"/>
            <a:lumOff val="4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iều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ày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ẫn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1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iều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ơn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1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ình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ức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XHTE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ảy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a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(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ạo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h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ỏ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ặc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).</a:t>
          </a:r>
        </a:p>
      </dsp:txBody>
      <dsp:txXfrm>
        <a:off x="4418198" y="1124861"/>
        <a:ext cx="3355602" cy="3439233"/>
      </dsp:txXfrm>
    </dsp:sp>
    <dsp:sp modelId="{5F58D4BA-B159-7249-99B0-3423920AFC37}">
      <dsp:nvSpPr>
        <dsp:cNvPr id="0" name=""/>
        <dsp:cNvSpPr/>
      </dsp:nvSpPr>
      <dsp:spPr>
        <a:xfrm>
          <a:off x="8466704" y="365128"/>
          <a:ext cx="3718662" cy="4958698"/>
        </a:xfrm>
        <a:prstGeom prst="roundRect">
          <a:avLst/>
        </a:prstGeom>
        <a:solidFill>
          <a:schemeClr val="accent6">
            <a:lumMod val="60000"/>
            <a:lumOff val="4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ẫ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â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ỏ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: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ào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a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ấ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ề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?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ì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ứ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ào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ã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ảy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?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ứ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uy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ã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ảy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ư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ế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ào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? [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ờ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a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ứ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ầ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ọ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]</a:t>
          </a:r>
        </a:p>
      </dsp:txBody>
      <dsp:txXfrm>
        <a:off x="8648234" y="546658"/>
        <a:ext cx="3355602" cy="4595638"/>
      </dsp:txXfrm>
    </dsp:sp>
  </dsp:spTree>
</dsp:drawing>
</file>

<file path=ppt/diagrams/drawing2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ECB044-682A-FD4B-BEB5-1242AE959B4F}">
      <dsp:nvSpPr>
        <dsp:cNvPr id="0" name=""/>
        <dsp:cNvSpPr/>
      </dsp:nvSpPr>
      <dsp:spPr>
        <a:xfrm>
          <a:off x="4835130" y="664"/>
          <a:ext cx="7252696" cy="2589891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65" tIns="12065" rIns="12065" bIns="12065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 err="1"/>
            <a:t>Không</a:t>
          </a:r>
          <a:r>
            <a:rPr lang="en-GB" sz="1900" kern="1200" dirty="0"/>
            <a:t> </a:t>
          </a:r>
          <a:r>
            <a:rPr lang="en-GB" sz="1900" kern="1200" dirty="0" err="1"/>
            <a:t>xác</a:t>
          </a:r>
          <a:r>
            <a:rPr lang="en-GB" sz="1900" kern="1200" dirty="0"/>
            <a:t> </a:t>
          </a:r>
          <a:r>
            <a:rPr lang="en-GB" sz="1900" kern="1200" dirty="0" err="1"/>
            <a:t>định</a:t>
          </a:r>
          <a:r>
            <a:rPr lang="en-GB" sz="1900" kern="1200" dirty="0"/>
            <a:t> </a:t>
          </a:r>
          <a:r>
            <a:rPr lang="en-GB" sz="1900" kern="1200" dirty="0" err="1"/>
            <a:t>rõ</a:t>
          </a:r>
          <a:r>
            <a:rPr lang="en-GB" sz="1900" kern="1200" dirty="0"/>
            <a:t> </a:t>
          </a:r>
          <a:r>
            <a:rPr lang="en-GB" sz="1900" kern="1200" dirty="0" err="1"/>
            <a:t>ràng</a:t>
          </a:r>
          <a:r>
            <a:rPr lang="en-GB" sz="1900" kern="1200" dirty="0"/>
            <a:t> </a:t>
          </a:r>
          <a:r>
            <a:rPr lang="en-GB" sz="1900" kern="1200" dirty="0" err="1"/>
            <a:t>việc</a:t>
          </a:r>
          <a:r>
            <a:rPr lang="en-GB" sz="1900" kern="1200" dirty="0"/>
            <a:t> </a:t>
          </a:r>
          <a:r>
            <a:rPr lang="en-GB" sz="1900" kern="1200" dirty="0" err="1"/>
            <a:t>xảy</a:t>
          </a:r>
          <a:r>
            <a:rPr lang="en-GB" sz="1900" kern="1200" dirty="0"/>
            <a:t> </a:t>
          </a:r>
          <a:r>
            <a:rPr lang="en-GB" sz="1900" kern="1200" dirty="0" err="1"/>
            <a:t>ra</a:t>
          </a:r>
          <a:r>
            <a:rPr lang="en-GB" sz="1900" kern="1200" dirty="0"/>
            <a:t> </a:t>
          </a:r>
          <a:r>
            <a:rPr lang="en-GB" sz="1900" kern="1200" dirty="0" err="1"/>
            <a:t>với</a:t>
          </a:r>
          <a:r>
            <a:rPr lang="en-GB" sz="1900" kern="1200" dirty="0"/>
            <a:t> </a:t>
          </a:r>
          <a:r>
            <a:rPr lang="en-GB" sz="1900" kern="1200" dirty="0" err="1"/>
            <a:t>trẻ</a:t>
          </a:r>
          <a:r>
            <a:rPr lang="en-GB" sz="1900" kern="1200" dirty="0"/>
            <a:t> </a:t>
          </a:r>
          <a:r>
            <a:rPr lang="en-GB" sz="1900" kern="1200" dirty="0" err="1"/>
            <a:t>có</a:t>
          </a:r>
          <a:r>
            <a:rPr lang="en-GB" sz="1900" kern="1200" dirty="0"/>
            <a:t> </a:t>
          </a:r>
          <a:r>
            <a:rPr lang="en-GB" sz="1900" kern="1200" dirty="0" err="1"/>
            <a:t>gì</a:t>
          </a:r>
          <a:r>
            <a:rPr lang="en-GB" sz="1900" kern="1200" dirty="0"/>
            <a:t> </a:t>
          </a:r>
          <a:r>
            <a:rPr lang="en-GB" sz="1900" kern="1200" dirty="0" err="1"/>
            <a:t>sai</a:t>
          </a:r>
          <a:r>
            <a:rPr lang="en-GB" sz="1900" kern="1200" dirty="0"/>
            <a:t>, </a:t>
          </a:r>
          <a:r>
            <a:rPr lang="en-GB" sz="1900" kern="1200" dirty="0" err="1"/>
            <a:t>tuy</a:t>
          </a:r>
          <a:r>
            <a:rPr lang="en-GB" sz="1900" kern="1200" dirty="0"/>
            <a:t> </a:t>
          </a:r>
          <a:r>
            <a:rPr lang="en-GB" sz="1900" kern="1200" dirty="0" err="1"/>
            <a:t>nhiên</a:t>
          </a:r>
          <a:r>
            <a:rPr lang="en-GB" sz="1900" kern="1200" dirty="0"/>
            <a:t>:</a:t>
          </a:r>
        </a:p>
        <a:p>
          <a:pPr marL="342900" lvl="2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 err="1"/>
            <a:t>Bạn</a:t>
          </a:r>
          <a:r>
            <a:rPr lang="en-GB" sz="1900" kern="1200" dirty="0"/>
            <a:t> </a:t>
          </a:r>
          <a:r>
            <a:rPr lang="en-GB" sz="1900" kern="1200" dirty="0" err="1"/>
            <a:t>có</a:t>
          </a:r>
          <a:r>
            <a:rPr lang="en-GB" sz="1900" kern="1200" dirty="0"/>
            <a:t> </a:t>
          </a:r>
          <a:r>
            <a:rPr lang="en-GB" sz="1900" kern="1200" dirty="0" err="1"/>
            <a:t>cảm</a:t>
          </a:r>
          <a:r>
            <a:rPr lang="en-GB" sz="1900" kern="1200" dirty="0"/>
            <a:t> </a:t>
          </a:r>
          <a:r>
            <a:rPr lang="en-GB" sz="1900" kern="1200" dirty="0" err="1"/>
            <a:t>giác</a:t>
          </a:r>
          <a:r>
            <a:rPr lang="en-GB" sz="1900" kern="1200" dirty="0"/>
            <a:t> </a:t>
          </a:r>
          <a:r>
            <a:rPr lang="en-GB" sz="1900" kern="1200" dirty="0" err="1"/>
            <a:t>có</a:t>
          </a:r>
          <a:r>
            <a:rPr lang="en-GB" sz="1900" kern="1200" dirty="0"/>
            <a:t> </a:t>
          </a:r>
          <a:r>
            <a:rPr lang="en-GB" sz="1900" kern="1200" dirty="0" err="1"/>
            <a:t>điều</a:t>
          </a:r>
          <a:r>
            <a:rPr lang="en-GB" sz="1900" kern="1200" dirty="0"/>
            <a:t> </a:t>
          </a:r>
          <a:r>
            <a:rPr lang="en-GB" sz="1900" kern="1200" dirty="0" err="1"/>
            <a:t>gì</a:t>
          </a:r>
          <a:r>
            <a:rPr lang="en-GB" sz="1900" kern="1200" dirty="0"/>
            <a:t> </a:t>
          </a:r>
          <a:r>
            <a:rPr lang="en-GB" sz="1900" kern="1200" dirty="0" err="1"/>
            <a:t>đó</a:t>
          </a:r>
          <a:r>
            <a:rPr lang="en-GB" sz="1900" kern="1200" dirty="0"/>
            <a:t> </a:t>
          </a:r>
          <a:r>
            <a:rPr lang="en-GB" sz="1900" kern="1200" dirty="0" err="1"/>
            <a:t>không</a:t>
          </a:r>
          <a:r>
            <a:rPr lang="en-GB" sz="1900" kern="1200" dirty="0"/>
            <a:t> </a:t>
          </a:r>
          <a:r>
            <a:rPr lang="en-GB" sz="1900" kern="1200" dirty="0" err="1"/>
            <a:t>đúng</a:t>
          </a:r>
          <a:r>
            <a:rPr lang="en-GB" sz="1900" kern="1200" dirty="0"/>
            <a:t>/</a:t>
          </a:r>
          <a:r>
            <a:rPr lang="en-GB" sz="1900" kern="1200" dirty="0" err="1"/>
            <a:t>phù</a:t>
          </a:r>
          <a:r>
            <a:rPr lang="en-GB" sz="1900" kern="1200" dirty="0"/>
            <a:t> </a:t>
          </a:r>
          <a:r>
            <a:rPr lang="en-GB" sz="1900" kern="1200" dirty="0" err="1"/>
            <a:t>hợp</a:t>
          </a:r>
          <a:r>
            <a:rPr lang="en-GB" sz="1900" kern="1200" dirty="0"/>
            <a:t> </a:t>
          </a:r>
          <a:r>
            <a:rPr lang="en-GB" sz="1900" kern="1200" dirty="0" err="1"/>
            <a:t>với</a:t>
          </a:r>
          <a:r>
            <a:rPr lang="en-GB" sz="1900" kern="1200" dirty="0"/>
            <a:t> </a:t>
          </a:r>
          <a:r>
            <a:rPr lang="en-GB" sz="1900" kern="1200" dirty="0" err="1"/>
            <a:t>trẻ</a:t>
          </a:r>
          <a:r>
            <a:rPr lang="en-GB" sz="1900" kern="1200" dirty="0"/>
            <a:t>. </a:t>
          </a:r>
        </a:p>
        <a:p>
          <a:pPr marL="342900" lvl="2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 err="1"/>
            <a:t>Bạn</a:t>
          </a:r>
          <a:r>
            <a:rPr lang="en-GB" sz="1900" kern="1200" dirty="0"/>
            <a:t> lo </a:t>
          </a:r>
          <a:r>
            <a:rPr lang="en-GB" sz="1900" kern="1200" dirty="0" err="1"/>
            <a:t>lắng</a:t>
          </a:r>
          <a:r>
            <a:rPr lang="en-GB" sz="1900" kern="1200" dirty="0"/>
            <a:t> </a:t>
          </a:r>
          <a:r>
            <a:rPr lang="en-GB" sz="1900" kern="1200" dirty="0" err="1"/>
            <a:t>về</a:t>
          </a:r>
          <a:r>
            <a:rPr lang="en-GB" sz="1900" kern="1200" dirty="0"/>
            <a:t> </a:t>
          </a:r>
          <a:r>
            <a:rPr lang="en-GB" sz="1900" kern="1200" dirty="0" err="1"/>
            <a:t>điều</a:t>
          </a:r>
          <a:r>
            <a:rPr lang="en-GB" sz="1900" kern="1200" dirty="0"/>
            <a:t> </a:t>
          </a:r>
          <a:r>
            <a:rPr lang="en-GB" sz="1900" kern="1200" dirty="0" err="1"/>
            <a:t>có</a:t>
          </a:r>
          <a:r>
            <a:rPr lang="en-GB" sz="1900" kern="1200" dirty="0"/>
            <a:t> </a:t>
          </a:r>
          <a:r>
            <a:rPr lang="en-GB" sz="1900" kern="1200" dirty="0" err="1"/>
            <a:t>thể</a:t>
          </a:r>
          <a:r>
            <a:rPr lang="en-GB" sz="1900" kern="1200" dirty="0"/>
            <a:t> </a:t>
          </a:r>
          <a:r>
            <a:rPr lang="en-GB" sz="1900" kern="1200" dirty="0" err="1"/>
            <a:t>sẽ</a:t>
          </a:r>
          <a:r>
            <a:rPr lang="en-GB" sz="1900" kern="1200" dirty="0"/>
            <a:t> </a:t>
          </a:r>
          <a:r>
            <a:rPr lang="en-GB" sz="1900" kern="1200" dirty="0" err="1"/>
            <a:t>xảy</a:t>
          </a:r>
          <a:r>
            <a:rPr lang="en-GB" sz="1900" kern="1200" dirty="0"/>
            <a:t> </a:t>
          </a:r>
          <a:r>
            <a:rPr lang="en-GB" sz="1900" kern="1200" dirty="0" err="1"/>
            <a:t>ra</a:t>
          </a:r>
          <a:r>
            <a:rPr lang="en-GB" sz="1900" kern="1200" dirty="0"/>
            <a:t> </a:t>
          </a:r>
          <a:r>
            <a:rPr lang="en-GB" sz="1900" kern="1200" dirty="0" err="1"/>
            <a:t>với</a:t>
          </a:r>
          <a:r>
            <a:rPr lang="en-GB" sz="1900" kern="1200" dirty="0"/>
            <a:t> </a:t>
          </a:r>
          <a:r>
            <a:rPr lang="en-GB" sz="1900" kern="1200" dirty="0" err="1"/>
            <a:t>trẻ</a:t>
          </a:r>
          <a:r>
            <a:rPr lang="en-GB" sz="1900" kern="1200" dirty="0"/>
            <a:t>.</a:t>
          </a:r>
        </a:p>
        <a:p>
          <a:pPr marL="342900" lvl="2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 err="1"/>
            <a:t>Bạn</a:t>
          </a:r>
          <a:r>
            <a:rPr lang="en-GB" sz="1900" kern="1200" dirty="0"/>
            <a:t> lo </a:t>
          </a:r>
          <a:r>
            <a:rPr lang="en-GB" sz="1900" kern="1200" dirty="0" err="1"/>
            <a:t>ngại</a:t>
          </a:r>
          <a:r>
            <a:rPr lang="en-GB" sz="1900" kern="1200" dirty="0"/>
            <a:t> </a:t>
          </a:r>
          <a:r>
            <a:rPr lang="en-GB" sz="1900" kern="1200" dirty="0" err="1"/>
            <a:t>điều</a:t>
          </a:r>
          <a:r>
            <a:rPr lang="en-GB" sz="1900" kern="1200" dirty="0"/>
            <a:t> </a:t>
          </a:r>
          <a:r>
            <a:rPr lang="en-GB" sz="1900" kern="1200" dirty="0" err="1"/>
            <a:t>gì</a:t>
          </a:r>
          <a:r>
            <a:rPr lang="en-GB" sz="1900" kern="1200" dirty="0"/>
            <a:t> </a:t>
          </a:r>
          <a:r>
            <a:rPr lang="en-GB" sz="1900" kern="1200" dirty="0" err="1"/>
            <a:t>đó</a:t>
          </a:r>
          <a:r>
            <a:rPr lang="en-GB" sz="1900" kern="1200" dirty="0"/>
            <a:t> </a:t>
          </a:r>
          <a:r>
            <a:rPr lang="en-GB" sz="1900" kern="1200" dirty="0" err="1"/>
            <a:t>có</a:t>
          </a:r>
          <a:r>
            <a:rPr lang="en-GB" sz="1900" kern="1200" dirty="0"/>
            <a:t> </a:t>
          </a:r>
          <a:r>
            <a:rPr lang="en-GB" sz="1900" kern="1200" dirty="0" err="1"/>
            <a:t>thể</a:t>
          </a:r>
          <a:r>
            <a:rPr lang="en-GB" sz="1900" kern="1200" dirty="0"/>
            <a:t> </a:t>
          </a:r>
          <a:r>
            <a:rPr lang="en-GB" sz="1900" kern="1200" dirty="0" err="1"/>
            <a:t>xảy</a:t>
          </a:r>
          <a:r>
            <a:rPr lang="en-GB" sz="1900" kern="1200" dirty="0"/>
            <a:t> </a:t>
          </a:r>
          <a:r>
            <a:rPr lang="en-GB" sz="1900" kern="1200" dirty="0" err="1"/>
            <a:t>ra</a:t>
          </a:r>
          <a:r>
            <a:rPr lang="en-GB" sz="1900" kern="1200" dirty="0"/>
            <a:t> </a:t>
          </a:r>
          <a:r>
            <a:rPr lang="en-GB" sz="1900" kern="1200" dirty="0" err="1"/>
            <a:t>với</a:t>
          </a:r>
          <a:r>
            <a:rPr lang="en-GB" sz="1900" kern="1200" dirty="0"/>
            <a:t> </a:t>
          </a:r>
          <a:r>
            <a:rPr lang="en-GB" sz="1900" kern="1200" dirty="0" err="1"/>
            <a:t>trẻ</a:t>
          </a:r>
          <a:r>
            <a:rPr lang="en-GB" sz="1900" kern="1200" dirty="0"/>
            <a:t> </a:t>
          </a:r>
          <a:r>
            <a:rPr lang="en-GB" sz="1900" kern="1200" dirty="0" err="1"/>
            <a:t>trong</a:t>
          </a:r>
          <a:r>
            <a:rPr lang="en-GB" sz="1900" kern="1200" dirty="0"/>
            <a:t> </a:t>
          </a:r>
          <a:r>
            <a:rPr lang="en-GB" sz="1900" kern="1200" dirty="0" err="1"/>
            <a:t>tương</a:t>
          </a:r>
          <a:r>
            <a:rPr lang="en-GB" sz="1900" kern="1200" dirty="0"/>
            <a:t> </a:t>
          </a:r>
          <a:r>
            <a:rPr lang="en-GB" sz="1900" kern="1200" dirty="0" err="1"/>
            <a:t>lai</a:t>
          </a:r>
          <a:r>
            <a:rPr lang="en-GB" sz="1900" kern="1200" dirty="0"/>
            <a:t>.</a:t>
          </a:r>
        </a:p>
        <a:p>
          <a:pPr marL="514350" lvl="3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 err="1"/>
            <a:t>Ví</a:t>
          </a:r>
          <a:r>
            <a:rPr lang="en-GB" sz="1900" kern="1200" dirty="0"/>
            <a:t> </a:t>
          </a:r>
          <a:r>
            <a:rPr lang="en-GB" sz="1900" kern="1200" dirty="0" err="1"/>
            <a:t>dụ</a:t>
          </a:r>
          <a:r>
            <a:rPr lang="en-GB" sz="1900" kern="1200" dirty="0"/>
            <a:t>, </a:t>
          </a:r>
          <a:r>
            <a:rPr lang="en-GB" sz="1900" kern="1200" dirty="0" err="1"/>
            <a:t>Trẻ</a:t>
          </a:r>
          <a:r>
            <a:rPr lang="en-GB" sz="1900" kern="1200" dirty="0"/>
            <a:t> </a:t>
          </a:r>
          <a:r>
            <a:rPr lang="en-GB" sz="1900" kern="1200" dirty="0" err="1"/>
            <a:t>có</a:t>
          </a:r>
          <a:r>
            <a:rPr lang="en-GB" sz="1900" kern="1200" dirty="0"/>
            <a:t> </a:t>
          </a:r>
          <a:r>
            <a:rPr lang="en-GB" sz="1900" kern="1200" dirty="0" err="1"/>
            <a:t>vẻ</a:t>
          </a:r>
          <a:r>
            <a:rPr lang="en-GB" sz="1900" kern="1200" dirty="0"/>
            <a:t> </a:t>
          </a:r>
          <a:r>
            <a:rPr lang="en-GB" sz="1900" kern="1200" dirty="0" err="1"/>
            <a:t>sợ</a:t>
          </a:r>
          <a:r>
            <a:rPr lang="en-GB" sz="1900" kern="1200" dirty="0"/>
            <a:t> </a:t>
          </a:r>
          <a:r>
            <a:rPr lang="en-GB" sz="1900" kern="1200" dirty="0" err="1"/>
            <a:t>người</a:t>
          </a:r>
          <a:r>
            <a:rPr lang="en-GB" sz="1900" kern="1200" dirty="0"/>
            <a:t> </a:t>
          </a:r>
          <a:r>
            <a:rPr lang="en-GB" sz="1900" kern="1200" dirty="0" err="1"/>
            <a:t>lớn</a:t>
          </a:r>
          <a:r>
            <a:rPr lang="en-GB" sz="1900" kern="1200" dirty="0"/>
            <a:t>.</a:t>
          </a:r>
        </a:p>
      </dsp:txBody>
      <dsp:txXfrm>
        <a:off x="4835130" y="324400"/>
        <a:ext cx="6281487" cy="1942419"/>
      </dsp:txXfrm>
    </dsp:sp>
    <dsp:sp modelId="{2BEB92FD-4189-FB42-A067-A23B6419886E}">
      <dsp:nvSpPr>
        <dsp:cNvPr id="0" name=""/>
        <dsp:cNvSpPr/>
      </dsp:nvSpPr>
      <dsp:spPr>
        <a:xfrm>
          <a:off x="0" y="664"/>
          <a:ext cx="4835130" cy="2589891"/>
        </a:xfrm>
        <a:prstGeom prst="roundRect">
          <a:avLst/>
        </a:prstGeom>
        <a:solidFill>
          <a:schemeClr val="accent4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6500" kern="1200" dirty="0" err="1">
              <a:solidFill>
                <a:schemeClr val="tx1"/>
              </a:solidFill>
            </a:rPr>
            <a:t>Nghi</a:t>
          </a:r>
          <a:r>
            <a:rPr lang="en-GB" sz="6500" kern="1200" dirty="0">
              <a:solidFill>
                <a:schemeClr val="tx1"/>
              </a:solidFill>
            </a:rPr>
            <a:t> </a:t>
          </a:r>
          <a:r>
            <a:rPr lang="en-GB" sz="6500" kern="1200" dirty="0" err="1">
              <a:solidFill>
                <a:schemeClr val="tx1"/>
              </a:solidFill>
            </a:rPr>
            <a:t>ngại</a:t>
          </a:r>
          <a:endParaRPr lang="en-GB" sz="6500" kern="1200" dirty="0">
            <a:solidFill>
              <a:schemeClr val="tx1"/>
            </a:solidFill>
          </a:endParaRPr>
        </a:p>
      </dsp:txBody>
      <dsp:txXfrm>
        <a:off x="126428" y="127092"/>
        <a:ext cx="4582274" cy="2337035"/>
      </dsp:txXfrm>
    </dsp:sp>
    <dsp:sp modelId="{9014FE81-16E4-E842-AF0E-8C5EC1F6B6CC}">
      <dsp:nvSpPr>
        <dsp:cNvPr id="0" name=""/>
        <dsp:cNvSpPr/>
      </dsp:nvSpPr>
      <dsp:spPr>
        <a:xfrm>
          <a:off x="4835130" y="2849545"/>
          <a:ext cx="7252696" cy="2589891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65" tIns="12065" rIns="12065" bIns="12065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 err="1"/>
            <a:t>Cáo</a:t>
          </a:r>
          <a:r>
            <a:rPr lang="en-GB" sz="1900" kern="1200" dirty="0"/>
            <a:t> </a:t>
          </a:r>
          <a:r>
            <a:rPr lang="en-GB" sz="1900" kern="1200" dirty="0" err="1"/>
            <a:t>buộc</a:t>
          </a:r>
          <a:r>
            <a:rPr lang="en-GB" sz="1900" kern="1200" dirty="0"/>
            <a:t> </a:t>
          </a:r>
          <a:r>
            <a:rPr lang="en-GB" sz="1900" kern="1200" dirty="0" err="1"/>
            <a:t>cụ</a:t>
          </a:r>
          <a:r>
            <a:rPr lang="en-GB" sz="1900" kern="1200" dirty="0"/>
            <a:t> </a:t>
          </a:r>
          <a:r>
            <a:rPr lang="en-GB" sz="1900" kern="1200" dirty="0" err="1"/>
            <a:t>thể</a:t>
          </a:r>
          <a:r>
            <a:rPr lang="en-GB" sz="1900" kern="1200" dirty="0"/>
            <a:t> </a:t>
          </a:r>
          <a:r>
            <a:rPr lang="en-GB" sz="1900" kern="1200" dirty="0" err="1"/>
            <a:t>được</a:t>
          </a:r>
          <a:r>
            <a:rPr lang="en-GB" sz="1900" kern="1200" dirty="0"/>
            <a:t> </a:t>
          </a:r>
          <a:r>
            <a:rPr lang="en-GB" sz="1900" kern="1200" dirty="0" err="1"/>
            <a:t>thông</a:t>
          </a:r>
          <a:r>
            <a:rPr lang="en-GB" sz="1900" kern="1200" dirty="0"/>
            <a:t> </a:t>
          </a:r>
          <a:r>
            <a:rPr lang="en-GB" sz="1900" kern="1200" dirty="0" err="1"/>
            <a:t>báo</a:t>
          </a:r>
          <a:r>
            <a:rPr lang="en-GB" sz="1900" kern="1200" dirty="0"/>
            <a:t>, </a:t>
          </a:r>
          <a:r>
            <a:rPr lang="en-GB" sz="1900" kern="1200" dirty="0" err="1"/>
            <a:t>thông</a:t>
          </a:r>
          <a:r>
            <a:rPr lang="en-GB" sz="1900" kern="1200" dirty="0"/>
            <a:t> tin </a:t>
          </a:r>
          <a:r>
            <a:rPr lang="en-GB" sz="1900" kern="1200" dirty="0" err="1"/>
            <a:t>rõ</a:t>
          </a:r>
          <a:r>
            <a:rPr lang="en-GB" sz="1900" kern="1200" dirty="0"/>
            <a:t> </a:t>
          </a:r>
          <a:r>
            <a:rPr lang="en-GB" sz="1900" kern="1200" dirty="0" err="1"/>
            <a:t>ràng</a:t>
          </a:r>
          <a:r>
            <a:rPr lang="en-GB" sz="1900" kern="1200" dirty="0"/>
            <a:t> </a:t>
          </a:r>
          <a:r>
            <a:rPr lang="en-GB" sz="1900" kern="1200" dirty="0" err="1"/>
            <a:t>về</a:t>
          </a:r>
          <a:r>
            <a:rPr lang="en-GB" sz="1900" kern="1200" dirty="0"/>
            <a:t> </a:t>
          </a:r>
          <a:r>
            <a:rPr lang="en-GB" sz="1900" kern="1200" dirty="0" err="1"/>
            <a:t>sự</a:t>
          </a:r>
          <a:r>
            <a:rPr lang="en-GB" sz="1900" kern="1200" dirty="0"/>
            <a:t> </a:t>
          </a:r>
          <a:r>
            <a:rPr lang="en-GB" sz="1900" kern="1200" dirty="0" err="1"/>
            <a:t>việc</a:t>
          </a:r>
          <a:r>
            <a:rPr lang="en-GB" sz="1900" kern="1200" dirty="0"/>
            <a:t> </a:t>
          </a:r>
          <a:r>
            <a:rPr lang="en-GB" sz="1900" kern="1200" dirty="0" err="1"/>
            <a:t>đã</a:t>
          </a:r>
          <a:r>
            <a:rPr lang="en-GB" sz="1900" kern="1200" dirty="0"/>
            <a:t> </a:t>
          </a:r>
          <a:r>
            <a:rPr lang="en-GB" sz="1900" kern="1200" dirty="0" err="1"/>
            <a:t>xảy</a:t>
          </a:r>
          <a:r>
            <a:rPr lang="en-GB" sz="1900" kern="1200" dirty="0"/>
            <a:t> ra.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 err="1"/>
            <a:t>Cáo</a:t>
          </a:r>
          <a:r>
            <a:rPr lang="en-GB" sz="1900" kern="1200" dirty="0"/>
            <a:t> </a:t>
          </a:r>
          <a:r>
            <a:rPr lang="en-GB" sz="1900" kern="1200" dirty="0" err="1"/>
            <a:t>buộc</a:t>
          </a:r>
          <a:r>
            <a:rPr lang="en-GB" sz="1900" kern="1200" dirty="0"/>
            <a:t> </a:t>
          </a:r>
          <a:r>
            <a:rPr lang="en-GB" sz="1900" kern="1200" dirty="0" err="1"/>
            <a:t>này</a:t>
          </a:r>
          <a:r>
            <a:rPr lang="en-GB" sz="1900" kern="1200" dirty="0"/>
            <a:t> </a:t>
          </a:r>
          <a:r>
            <a:rPr lang="en-GB" sz="1900" kern="1200" dirty="0" err="1"/>
            <a:t>phải</a:t>
          </a:r>
          <a:r>
            <a:rPr lang="en-GB" sz="1900" kern="1200" dirty="0"/>
            <a:t> </a:t>
          </a:r>
          <a:r>
            <a:rPr lang="en-GB" sz="1900" kern="1200" dirty="0" err="1"/>
            <a:t>được</a:t>
          </a:r>
          <a:r>
            <a:rPr lang="en-GB" sz="1900" kern="1200" dirty="0"/>
            <a:t> </a:t>
          </a:r>
          <a:r>
            <a:rPr lang="en-GB" sz="1900" kern="1200" dirty="0" err="1"/>
            <a:t>xem</a:t>
          </a:r>
          <a:r>
            <a:rPr lang="en-GB" sz="1900" kern="1200" dirty="0"/>
            <a:t> </a:t>
          </a:r>
          <a:r>
            <a:rPr lang="en-GB" sz="1900" kern="1200" dirty="0" err="1"/>
            <a:t>xét</a:t>
          </a:r>
          <a:r>
            <a:rPr lang="en-GB" sz="1900" kern="1200" dirty="0"/>
            <a:t> </a:t>
          </a:r>
          <a:r>
            <a:rPr lang="en-GB" sz="1900" kern="1200" dirty="0" err="1"/>
            <a:t>là</a:t>
          </a:r>
          <a:r>
            <a:rPr lang="en-GB" sz="1900" kern="1200" dirty="0"/>
            <a:t> </a:t>
          </a:r>
          <a:r>
            <a:rPr lang="en-GB" sz="1900" kern="1200" dirty="0" err="1"/>
            <a:t>đúng</a:t>
          </a:r>
          <a:r>
            <a:rPr lang="en-GB" sz="1900" kern="1200" dirty="0"/>
            <a:t>, </a:t>
          </a:r>
          <a:r>
            <a:rPr lang="en-GB" sz="1900" kern="1200" dirty="0" err="1"/>
            <a:t>cho</a:t>
          </a:r>
          <a:r>
            <a:rPr lang="en-GB" sz="1900" kern="1200" dirty="0"/>
            <a:t> </a:t>
          </a:r>
          <a:r>
            <a:rPr lang="en-GB" sz="1900" kern="1200" dirty="0" err="1"/>
            <a:t>tới</a:t>
          </a:r>
          <a:r>
            <a:rPr lang="en-GB" sz="1900" kern="1200" dirty="0"/>
            <a:t> </a:t>
          </a:r>
          <a:r>
            <a:rPr lang="en-GB" sz="1900" kern="1200" dirty="0" err="1"/>
            <a:t>khi</a:t>
          </a:r>
          <a:r>
            <a:rPr lang="en-GB" sz="1900" kern="1200" dirty="0"/>
            <a:t> </a:t>
          </a:r>
          <a:r>
            <a:rPr lang="en-GB" sz="1900" kern="1200" dirty="0" err="1"/>
            <a:t>chứng</a:t>
          </a:r>
          <a:r>
            <a:rPr lang="en-GB" sz="1900" kern="1200" dirty="0"/>
            <a:t> </a:t>
          </a:r>
          <a:r>
            <a:rPr lang="en-GB" sz="1900" kern="1200" dirty="0" err="1"/>
            <a:t>minh</a:t>
          </a:r>
          <a:r>
            <a:rPr lang="en-GB" sz="1900" kern="1200" dirty="0"/>
            <a:t> </a:t>
          </a:r>
          <a:r>
            <a:rPr lang="en-GB" sz="1900" kern="1200" dirty="0" err="1"/>
            <a:t>được</a:t>
          </a:r>
          <a:r>
            <a:rPr lang="en-GB" sz="1900" kern="1200" dirty="0"/>
            <a:t> </a:t>
          </a:r>
          <a:r>
            <a:rPr lang="en-GB" sz="1900" kern="1200" dirty="0" err="1"/>
            <a:t>là</a:t>
          </a:r>
          <a:r>
            <a:rPr lang="en-GB" sz="1900" kern="1200" dirty="0"/>
            <a:t> </a:t>
          </a:r>
          <a:r>
            <a:rPr lang="en-GB" sz="1900" kern="1200" dirty="0" err="1"/>
            <a:t>sai</a:t>
          </a:r>
          <a:r>
            <a:rPr lang="en-GB" sz="1900" kern="1200" dirty="0"/>
            <a:t> [</a:t>
          </a:r>
          <a:r>
            <a:rPr lang="en-GB" sz="1900" kern="1200" dirty="0" err="1"/>
            <a:t>Tiền</a:t>
          </a:r>
          <a:r>
            <a:rPr lang="en-GB" sz="1900" kern="1200" dirty="0"/>
            <a:t> </a:t>
          </a:r>
          <a:r>
            <a:rPr lang="en-GB" sz="1900" kern="1200" dirty="0" err="1"/>
            <a:t>đề</a:t>
          </a:r>
          <a:r>
            <a:rPr lang="en-GB" sz="1900" kern="1200" dirty="0"/>
            <a:t> </a:t>
          </a:r>
          <a:r>
            <a:rPr lang="en-GB" sz="1900" kern="1200" dirty="0" err="1"/>
            <a:t>quan</a:t>
          </a:r>
          <a:r>
            <a:rPr lang="en-GB" sz="1900" kern="1200" dirty="0"/>
            <a:t> </a:t>
          </a:r>
          <a:r>
            <a:rPr lang="en-GB" sz="1900" kern="1200" dirty="0" err="1"/>
            <a:t>trọng</a:t>
          </a:r>
          <a:r>
            <a:rPr lang="en-GB" sz="1900" kern="1200" dirty="0"/>
            <a:t> </a:t>
          </a:r>
          <a:r>
            <a:rPr lang="en-GB" sz="1900" kern="1200" dirty="0" err="1"/>
            <a:t>của</a:t>
          </a:r>
          <a:r>
            <a:rPr lang="en-GB" sz="1900" kern="1200" dirty="0"/>
            <a:t> </a:t>
          </a:r>
          <a:r>
            <a:rPr lang="en-GB" sz="1900" kern="1200" dirty="0" err="1"/>
            <a:t>thực</a:t>
          </a:r>
          <a:r>
            <a:rPr lang="en-GB" sz="1900" kern="1200" dirty="0"/>
            <a:t> </a:t>
          </a:r>
          <a:r>
            <a:rPr lang="en-GB" sz="1900" kern="1200" dirty="0" err="1"/>
            <a:t>hành</a:t>
          </a:r>
          <a:r>
            <a:rPr lang="en-GB" sz="1900" kern="1200" dirty="0"/>
            <a:t> BVTE]</a:t>
          </a:r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900" kern="1200" dirty="0" err="1"/>
            <a:t>Ví</a:t>
          </a:r>
          <a:r>
            <a:rPr lang="en-GB" sz="1900" kern="1200" dirty="0"/>
            <a:t> </a:t>
          </a:r>
          <a:r>
            <a:rPr lang="en-GB" sz="1900" kern="1200" dirty="0" err="1"/>
            <a:t>dụ</a:t>
          </a:r>
          <a:r>
            <a:rPr lang="en-GB" sz="1900" kern="1200" dirty="0"/>
            <a:t>: </a:t>
          </a:r>
          <a:r>
            <a:rPr lang="en-GB" sz="1900" kern="1200" dirty="0" err="1"/>
            <a:t>Trẻ</a:t>
          </a:r>
          <a:r>
            <a:rPr lang="en-GB" sz="1900" kern="1200" dirty="0"/>
            <a:t> </a:t>
          </a:r>
          <a:r>
            <a:rPr lang="en-GB" sz="1900" kern="1200" dirty="0" err="1"/>
            <a:t>nói</a:t>
          </a:r>
          <a:r>
            <a:rPr lang="en-GB" sz="1900" kern="1200" dirty="0"/>
            <a:t> </a:t>
          </a:r>
          <a:r>
            <a:rPr lang="en-GB" sz="1900" kern="1200" dirty="0" err="1"/>
            <a:t>rằng</a:t>
          </a:r>
          <a:r>
            <a:rPr lang="en-GB" sz="1900" kern="1200" dirty="0"/>
            <a:t> </a:t>
          </a:r>
          <a:r>
            <a:rPr lang="en-GB" sz="1900" kern="1200" dirty="0" err="1"/>
            <a:t>bị</a:t>
          </a:r>
          <a:r>
            <a:rPr lang="en-GB" sz="1900" kern="1200" dirty="0"/>
            <a:t> </a:t>
          </a:r>
          <a:r>
            <a:rPr lang="en-GB" sz="1900" kern="1200" dirty="0" err="1"/>
            <a:t>bố</a:t>
          </a:r>
          <a:r>
            <a:rPr lang="en-GB" sz="1900" kern="1200" dirty="0"/>
            <a:t> </a:t>
          </a:r>
          <a:r>
            <a:rPr lang="en-GB" sz="1900" kern="1200" dirty="0" err="1"/>
            <a:t>đánh</a:t>
          </a:r>
          <a:r>
            <a:rPr lang="en-GB" sz="1900" kern="1200" dirty="0"/>
            <a:t> </a:t>
          </a:r>
          <a:r>
            <a:rPr lang="en-GB" sz="1900" kern="1200" dirty="0" err="1"/>
            <a:t>vào</a:t>
          </a:r>
          <a:r>
            <a:rPr lang="en-GB" sz="1900" kern="1200" dirty="0"/>
            <a:t> </a:t>
          </a:r>
          <a:r>
            <a:rPr lang="en-GB" sz="1900" kern="1200" dirty="0" err="1"/>
            <a:t>mặt</a:t>
          </a:r>
          <a:r>
            <a:rPr lang="en-GB" sz="1900" kern="1200" dirty="0"/>
            <a:t> </a:t>
          </a:r>
          <a:r>
            <a:rPr lang="en-GB" sz="1900" kern="1200" dirty="0" err="1"/>
            <a:t>bởi</a:t>
          </a:r>
          <a:r>
            <a:rPr lang="en-GB" sz="1900" kern="1200" dirty="0"/>
            <a:t> </a:t>
          </a:r>
          <a:r>
            <a:rPr lang="en-GB" sz="1900" kern="1200" dirty="0" err="1"/>
            <a:t>vì</a:t>
          </a:r>
          <a:r>
            <a:rPr lang="en-GB" sz="1900" kern="1200" dirty="0"/>
            <a:t> </a:t>
          </a:r>
          <a:r>
            <a:rPr lang="en-GB" sz="1900" kern="1200" dirty="0" err="1"/>
            <a:t>đã</a:t>
          </a:r>
          <a:r>
            <a:rPr lang="en-GB" sz="1900" kern="1200" dirty="0"/>
            <a:t> </a:t>
          </a:r>
          <a:r>
            <a:rPr lang="en-GB" sz="1900" kern="1200" dirty="0" err="1"/>
            <a:t>không</a:t>
          </a:r>
          <a:r>
            <a:rPr lang="en-GB" sz="1900" kern="1200" dirty="0"/>
            <a:t> </a:t>
          </a:r>
          <a:r>
            <a:rPr lang="en-GB" sz="1900" kern="1200" dirty="0" err="1"/>
            <a:t>làm</a:t>
          </a:r>
          <a:r>
            <a:rPr lang="en-GB" sz="1900" kern="1200" dirty="0"/>
            <a:t> </a:t>
          </a:r>
          <a:r>
            <a:rPr lang="en-GB" sz="1900" kern="1200" dirty="0" err="1"/>
            <a:t>tốt</a:t>
          </a:r>
          <a:r>
            <a:rPr lang="en-GB" sz="1900" kern="1200" dirty="0"/>
            <a:t> </a:t>
          </a:r>
          <a:r>
            <a:rPr lang="en-GB" sz="1900" kern="1200" dirty="0" err="1"/>
            <a:t>bài</a:t>
          </a:r>
          <a:r>
            <a:rPr lang="en-GB" sz="1900" kern="1200" dirty="0"/>
            <a:t> </a:t>
          </a:r>
          <a:r>
            <a:rPr lang="en-GB" sz="1900" kern="1200" dirty="0" err="1"/>
            <a:t>kiểm</a:t>
          </a:r>
          <a:r>
            <a:rPr lang="en-GB" sz="1900" kern="1200" dirty="0"/>
            <a:t> </a:t>
          </a:r>
          <a:r>
            <a:rPr lang="en-GB" sz="1900" kern="1200" dirty="0" err="1"/>
            <a:t>tra</a:t>
          </a:r>
          <a:r>
            <a:rPr lang="en-GB" sz="1900" kern="1200" dirty="0"/>
            <a:t> </a:t>
          </a:r>
          <a:r>
            <a:rPr lang="en-GB" sz="1900" kern="1200" dirty="0" err="1"/>
            <a:t>ở</a:t>
          </a:r>
          <a:r>
            <a:rPr lang="en-GB" sz="1900" kern="1200" dirty="0"/>
            <a:t> </a:t>
          </a:r>
          <a:r>
            <a:rPr lang="en-GB" sz="1900" kern="1200" dirty="0" err="1"/>
            <a:t>trường</a:t>
          </a:r>
          <a:r>
            <a:rPr lang="en-GB" sz="1900" kern="1200" dirty="0"/>
            <a:t>.</a:t>
          </a:r>
        </a:p>
      </dsp:txBody>
      <dsp:txXfrm>
        <a:off x="4835130" y="3173281"/>
        <a:ext cx="6281487" cy="1942419"/>
      </dsp:txXfrm>
    </dsp:sp>
    <dsp:sp modelId="{E8A81A9E-C364-D346-9FDC-7BBC54820AE8}">
      <dsp:nvSpPr>
        <dsp:cNvPr id="0" name=""/>
        <dsp:cNvSpPr/>
      </dsp:nvSpPr>
      <dsp:spPr>
        <a:xfrm>
          <a:off x="0" y="2849545"/>
          <a:ext cx="4835130" cy="2589891"/>
        </a:xfrm>
        <a:prstGeom prst="roundRect">
          <a:avLst/>
        </a:prstGeom>
        <a:solidFill>
          <a:schemeClr val="accent2">
            <a:lumMod val="60000"/>
            <a:lumOff val="4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6500" kern="1200" dirty="0" err="1">
              <a:solidFill>
                <a:schemeClr val="tx1"/>
              </a:solidFill>
            </a:rPr>
            <a:t>Cáo</a:t>
          </a:r>
          <a:r>
            <a:rPr lang="en-GB" sz="6500" kern="1200" dirty="0">
              <a:solidFill>
                <a:schemeClr val="tx1"/>
              </a:solidFill>
            </a:rPr>
            <a:t> </a:t>
          </a:r>
          <a:r>
            <a:rPr lang="en-GB" sz="6500" kern="1200" dirty="0" err="1">
              <a:solidFill>
                <a:schemeClr val="tx1"/>
              </a:solidFill>
            </a:rPr>
            <a:t>buộc</a:t>
          </a:r>
          <a:endParaRPr lang="en-GB" sz="6500" kern="1200" dirty="0">
            <a:solidFill>
              <a:schemeClr val="tx1"/>
            </a:solidFill>
          </a:endParaRPr>
        </a:p>
      </dsp:txBody>
      <dsp:txXfrm>
        <a:off x="126428" y="2975973"/>
        <a:ext cx="4582274" cy="2337035"/>
      </dsp:txXfrm>
    </dsp:sp>
  </dsp:spTree>
</dsp:drawing>
</file>

<file path=ppt/diagrams/drawing2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5329DF-A990-B340-B984-CC0CFA5EA5F1}">
      <dsp:nvSpPr>
        <dsp:cNvPr id="0" name=""/>
        <dsp:cNvSpPr/>
      </dsp:nvSpPr>
      <dsp:spPr>
        <a:xfrm rot="16200000">
          <a:off x="0" y="100599"/>
          <a:ext cx="5947171" cy="5947171"/>
        </a:xfrm>
        <a:prstGeom prst="downArrow">
          <a:avLst>
            <a:gd name="adj1" fmla="val 50000"/>
            <a:gd name="adj2" fmla="val 35000"/>
          </a:avLst>
        </a:prstGeom>
        <a:solidFill>
          <a:srgbClr val="FFFF00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ử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5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–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ị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[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á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]</a:t>
          </a: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í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c</a:t>
          </a:r>
          <a:endParaRPr lang="en-GB" sz="2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ứ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c</a:t>
          </a:r>
          <a:endParaRPr lang="en-GB" sz="2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ú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c</a:t>
          </a:r>
          <a:endParaRPr lang="en-GB" sz="2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ị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c</a:t>
          </a:r>
          <a:endParaRPr lang="en-GB" sz="2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 rot="5400000">
        <a:off x="1" y="1587391"/>
        <a:ext cx="4906416" cy="2973585"/>
      </dsp:txXfrm>
    </dsp:sp>
    <dsp:sp modelId="{965B9BE4-B661-C04A-8528-9D02D6C625A5}">
      <dsp:nvSpPr>
        <dsp:cNvPr id="0" name=""/>
        <dsp:cNvSpPr/>
      </dsp:nvSpPr>
      <dsp:spPr>
        <a:xfrm rot="5400000">
          <a:off x="6242272" y="100584"/>
          <a:ext cx="5947171" cy="5947171"/>
        </a:xfrm>
        <a:prstGeom prst="downArrow">
          <a:avLst>
            <a:gd name="adj1" fmla="val 50000"/>
            <a:gd name="adj2" fmla="val 35000"/>
          </a:avLst>
        </a:prstGeom>
        <a:solidFill>
          <a:schemeClr val="accent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4264" tIns="334264" rIns="334264" bIns="334264" numCol="1" spcCol="1270" anchor="ctr" anchorCtr="0">
          <a:noAutofit/>
        </a:bodyPr>
        <a:lstStyle/>
        <a:p>
          <a:pPr marL="0" lvl="0" indent="0" algn="ctr" defTabSz="2089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7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uy</a:t>
          </a:r>
          <a:r>
            <a:rPr lang="en-GB" sz="47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47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ét</a:t>
          </a:r>
          <a:r>
            <a:rPr lang="en-GB" sz="47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47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ẩn</a:t>
          </a:r>
          <a:r>
            <a:rPr lang="en-GB" sz="47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47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ọng</a:t>
          </a:r>
          <a:r>
            <a:rPr lang="en-GB" sz="47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47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ề</a:t>
          </a:r>
          <a:r>
            <a:rPr lang="en-GB" sz="47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47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47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47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sz="47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47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47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47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n</a:t>
          </a:r>
          <a:r>
            <a:rPr lang="en-GB" sz="47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47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ình</a:t>
          </a:r>
          <a:r>
            <a:rPr lang="en-GB" sz="47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47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h</a:t>
          </a:r>
          <a:r>
            <a:rPr lang="en-GB" sz="47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47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ng</a:t>
          </a:r>
          <a:r>
            <a:rPr lang="en-GB" sz="47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</a:p>
      </dsp:txBody>
      <dsp:txXfrm rot="-5400000">
        <a:off x="7283028" y="1587377"/>
        <a:ext cx="4906416" cy="297358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40C1D8-4F17-4260-A093-889D414466BF}">
      <dsp:nvSpPr>
        <dsp:cNvPr id="0" name=""/>
        <dsp:cNvSpPr/>
      </dsp:nvSpPr>
      <dsp:spPr>
        <a:xfrm>
          <a:off x="6096000" y="3104946"/>
          <a:ext cx="4774424" cy="5524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6206"/>
              </a:lnTo>
              <a:lnTo>
                <a:pt x="4774424" y="276206"/>
              </a:lnTo>
              <a:lnTo>
                <a:pt x="4774424" y="552412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3FB414A-2FBE-4007-BB0E-D74DB3EE48CE}">
      <dsp:nvSpPr>
        <dsp:cNvPr id="0" name=""/>
        <dsp:cNvSpPr/>
      </dsp:nvSpPr>
      <dsp:spPr>
        <a:xfrm>
          <a:off x="6096000" y="3104946"/>
          <a:ext cx="1591474" cy="5524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76206"/>
              </a:lnTo>
              <a:lnTo>
                <a:pt x="1591474" y="276206"/>
              </a:lnTo>
              <a:lnTo>
                <a:pt x="1591474" y="552412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4F547C-3AE1-46CE-B825-F124B9C34965}">
      <dsp:nvSpPr>
        <dsp:cNvPr id="0" name=""/>
        <dsp:cNvSpPr/>
      </dsp:nvSpPr>
      <dsp:spPr>
        <a:xfrm>
          <a:off x="4504525" y="3104946"/>
          <a:ext cx="1591474" cy="552412"/>
        </a:xfrm>
        <a:custGeom>
          <a:avLst/>
          <a:gdLst/>
          <a:ahLst/>
          <a:cxnLst/>
          <a:rect l="0" t="0" r="0" b="0"/>
          <a:pathLst>
            <a:path>
              <a:moveTo>
                <a:pt x="1591474" y="0"/>
              </a:moveTo>
              <a:lnTo>
                <a:pt x="1591474" y="276206"/>
              </a:lnTo>
              <a:lnTo>
                <a:pt x="0" y="276206"/>
              </a:lnTo>
              <a:lnTo>
                <a:pt x="0" y="552412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64C249-BD1C-4FFC-B9F4-25592EFCC4AC}">
      <dsp:nvSpPr>
        <dsp:cNvPr id="0" name=""/>
        <dsp:cNvSpPr/>
      </dsp:nvSpPr>
      <dsp:spPr>
        <a:xfrm>
          <a:off x="1321575" y="3104946"/>
          <a:ext cx="4774424" cy="552412"/>
        </a:xfrm>
        <a:custGeom>
          <a:avLst/>
          <a:gdLst/>
          <a:ahLst/>
          <a:cxnLst/>
          <a:rect l="0" t="0" r="0" b="0"/>
          <a:pathLst>
            <a:path>
              <a:moveTo>
                <a:pt x="4774424" y="0"/>
              </a:moveTo>
              <a:lnTo>
                <a:pt x="4774424" y="276206"/>
              </a:lnTo>
              <a:lnTo>
                <a:pt x="0" y="276206"/>
              </a:lnTo>
              <a:lnTo>
                <a:pt x="0" y="552412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66AE70-6C87-44E3-813B-50D90186CA5D}">
      <dsp:nvSpPr>
        <dsp:cNvPr id="0" name=""/>
        <dsp:cNvSpPr/>
      </dsp:nvSpPr>
      <dsp:spPr>
        <a:xfrm>
          <a:off x="4098751" y="1789678"/>
          <a:ext cx="3994496" cy="13152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4 YẾU TỐ BẢO VỆ TRẺ EM HIỆU QUẢ</a:t>
          </a:r>
        </a:p>
      </dsp:txBody>
      <dsp:txXfrm>
        <a:off x="4098751" y="1789678"/>
        <a:ext cx="3994496" cy="1315268"/>
      </dsp:txXfrm>
    </dsp:sp>
    <dsp:sp modelId="{87516564-3F23-416A-BD81-EBF860588647}">
      <dsp:nvSpPr>
        <dsp:cNvPr id="0" name=""/>
        <dsp:cNvSpPr/>
      </dsp:nvSpPr>
      <dsp:spPr>
        <a:xfrm>
          <a:off x="6306" y="3657359"/>
          <a:ext cx="2630537" cy="13152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Một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hệ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thống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rõ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ràng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về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BVTE</a:t>
          </a:r>
        </a:p>
      </dsp:txBody>
      <dsp:txXfrm>
        <a:off x="6306" y="3657359"/>
        <a:ext cx="2630537" cy="1315268"/>
      </dsp:txXfrm>
    </dsp:sp>
    <dsp:sp modelId="{DAB03311-90F8-47F2-9D45-0600497D7DB5}">
      <dsp:nvSpPr>
        <dsp:cNvPr id="0" name=""/>
        <dsp:cNvSpPr/>
      </dsp:nvSpPr>
      <dsp:spPr>
        <a:xfrm>
          <a:off x="3189256" y="3657359"/>
          <a:ext cx="2630537" cy="13152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Vị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trí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,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vai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trò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của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từng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người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trong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hệ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thống</a:t>
          </a:r>
          <a:endParaRPr lang="en-US" sz="24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3189256" y="3657359"/>
        <a:ext cx="2630537" cy="1315268"/>
      </dsp:txXfrm>
    </dsp:sp>
    <dsp:sp modelId="{A4CE73F4-5181-4E19-BD06-E7B8BCF15D22}">
      <dsp:nvSpPr>
        <dsp:cNvPr id="0" name=""/>
        <dsp:cNvSpPr/>
      </dsp:nvSpPr>
      <dsp:spPr>
        <a:xfrm>
          <a:off x="6372206" y="3657359"/>
          <a:ext cx="2630537" cy="13152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Nhiệm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vụ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chuyên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môn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cụ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thể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của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từng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vị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trí</a:t>
          </a:r>
          <a:endParaRPr lang="en-US" sz="24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6372206" y="3657359"/>
        <a:ext cx="2630537" cy="1315268"/>
      </dsp:txXfrm>
    </dsp:sp>
    <dsp:sp modelId="{9C383932-AB1A-4205-B187-6830E2534555}">
      <dsp:nvSpPr>
        <dsp:cNvPr id="0" name=""/>
        <dsp:cNvSpPr/>
      </dsp:nvSpPr>
      <dsp:spPr>
        <a:xfrm>
          <a:off x="9555156" y="3657359"/>
          <a:ext cx="2630537" cy="131526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Cán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bộ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BVTE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trong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hệ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thống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phải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năng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lực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,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kiến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thức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,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kỹ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năng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,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thái</a:t>
          </a:r>
          <a:r>
            <a:rPr lang="en-US" sz="24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2400" kern="1200" dirty="0" err="1">
              <a:latin typeface="Times New Roman" pitchFamily="18" charset="0"/>
              <a:cs typeface="Times New Roman" pitchFamily="18" charset="0"/>
            </a:rPr>
            <a:t>độ</a:t>
          </a:r>
          <a:endParaRPr lang="en-US" sz="24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9555156" y="3657359"/>
        <a:ext cx="2630537" cy="1315268"/>
      </dsp:txXfrm>
    </dsp:sp>
  </dsp:spTree>
</dsp:drawing>
</file>

<file path=ppt/diagrams/drawing3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9CDAC5-F281-5842-B269-AF62D0F75504}">
      <dsp:nvSpPr>
        <dsp:cNvPr id="0" name=""/>
        <dsp:cNvSpPr/>
      </dsp:nvSpPr>
      <dsp:spPr>
        <a:xfrm>
          <a:off x="2097273" y="0"/>
          <a:ext cx="6163519" cy="6163519"/>
        </a:xfrm>
        <a:prstGeom prst="diamond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20BEED-F425-2348-815A-A0467587FFE3}">
      <dsp:nvSpPr>
        <dsp:cNvPr id="0" name=""/>
        <dsp:cNvSpPr/>
      </dsp:nvSpPr>
      <dsp:spPr>
        <a:xfrm>
          <a:off x="1337572" y="511930"/>
          <a:ext cx="3327998" cy="2403772"/>
        </a:xfrm>
        <a:prstGeom prst="roundRect">
          <a:avLst/>
        </a:prstGeom>
        <a:solidFill>
          <a:schemeClr val="accent2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iều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ì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ây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ú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ý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ay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ban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ầu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?</a:t>
          </a:r>
        </a:p>
      </dsp:txBody>
      <dsp:txXfrm>
        <a:off x="1454914" y="629272"/>
        <a:ext cx="3093314" cy="2169088"/>
      </dsp:txXfrm>
    </dsp:sp>
    <dsp:sp modelId="{5BEC3CA0-7583-D942-A66E-8379DA20C492}">
      <dsp:nvSpPr>
        <dsp:cNvPr id="0" name=""/>
        <dsp:cNvSpPr/>
      </dsp:nvSpPr>
      <dsp:spPr>
        <a:xfrm>
          <a:off x="5509687" y="487412"/>
          <a:ext cx="4331429" cy="2403772"/>
        </a:xfrm>
        <a:prstGeom prst="roundRect">
          <a:avLst/>
        </a:prstGeom>
        <a:solidFill>
          <a:schemeClr val="accent4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i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ào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m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c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hi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ại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uất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iện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?</a:t>
          </a:r>
        </a:p>
      </dsp:txBody>
      <dsp:txXfrm>
        <a:off x="5627029" y="604754"/>
        <a:ext cx="4096745" cy="2169088"/>
      </dsp:txXfrm>
    </dsp:sp>
    <dsp:sp modelId="{D972BAA5-6F48-5D47-A605-7458E27DCE44}">
      <dsp:nvSpPr>
        <dsp:cNvPr id="0" name=""/>
        <dsp:cNvSpPr/>
      </dsp:nvSpPr>
      <dsp:spPr>
        <a:xfrm>
          <a:off x="0" y="3161929"/>
          <a:ext cx="3953027" cy="2403772"/>
        </a:xfrm>
        <a:prstGeom prst="roundRect">
          <a:avLst/>
        </a:prstGeom>
        <a:solidFill>
          <a:schemeClr val="accent2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.g.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ận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a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ằng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ẹ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Nam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éo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con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ất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ô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ạo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i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à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ón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úng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ở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sp:txBody>
      <dsp:txXfrm>
        <a:off x="117342" y="3279271"/>
        <a:ext cx="3718343" cy="2169088"/>
      </dsp:txXfrm>
    </dsp:sp>
    <dsp:sp modelId="{89DC0C36-4EB2-F24A-9051-3751E3DDA197}">
      <dsp:nvSpPr>
        <dsp:cNvPr id="0" name=""/>
        <dsp:cNvSpPr/>
      </dsp:nvSpPr>
      <dsp:spPr>
        <a:xfrm>
          <a:off x="4490512" y="3017990"/>
          <a:ext cx="7620896" cy="3145528"/>
        </a:xfrm>
        <a:prstGeom prst="roundRect">
          <a:avLst/>
        </a:prstGeom>
        <a:solidFill>
          <a:schemeClr val="accent4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.g.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ấy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Nam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óc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i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ị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ẹ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éo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ẹ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ười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ậu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ấy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éo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ậu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ấy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ớc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ặt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ọi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ói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: “10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uổi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ồi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à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òn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ư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ử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ư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ứa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con”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ấy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Nam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uồn</a:t>
          </a:r>
          <a:endParaRPr lang="en-GB" sz="28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pPr marL="0"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8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4644064" y="3171542"/>
        <a:ext cx="7313792" cy="2838424"/>
      </dsp:txXfrm>
    </dsp:sp>
  </dsp:spTree>
</dsp:drawing>
</file>

<file path=ppt/diagrams/drawing3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D0002D-7F9B-8E4E-9922-5B45A716BFFF}">
      <dsp:nvSpPr>
        <dsp:cNvPr id="0" name=""/>
        <dsp:cNvSpPr/>
      </dsp:nvSpPr>
      <dsp:spPr>
        <a:xfrm>
          <a:off x="5469543" y="796230"/>
          <a:ext cx="336025" cy="73379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33792"/>
              </a:lnTo>
              <a:lnTo>
                <a:pt x="336025" y="733792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D53F555-DEC2-194F-AFAA-42110C82DF29}">
      <dsp:nvSpPr>
        <dsp:cNvPr id="0" name=""/>
        <dsp:cNvSpPr/>
      </dsp:nvSpPr>
      <dsp:spPr>
        <a:xfrm>
          <a:off x="5423823" y="796230"/>
          <a:ext cx="91440" cy="73379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7328" y="733792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839ECE-2F53-7C4A-8FE0-86FC98DA289A}">
      <dsp:nvSpPr>
        <dsp:cNvPr id="0" name=""/>
        <dsp:cNvSpPr/>
      </dsp:nvSpPr>
      <dsp:spPr>
        <a:xfrm>
          <a:off x="8666541" y="3058785"/>
          <a:ext cx="315916" cy="128213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82130"/>
              </a:lnTo>
              <a:lnTo>
                <a:pt x="315916" y="1282130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38FF74-9455-934E-A38E-2715111CCCB5}">
      <dsp:nvSpPr>
        <dsp:cNvPr id="0" name=""/>
        <dsp:cNvSpPr/>
      </dsp:nvSpPr>
      <dsp:spPr>
        <a:xfrm>
          <a:off x="5469543" y="796230"/>
          <a:ext cx="4039442" cy="14663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99116"/>
              </a:lnTo>
              <a:lnTo>
                <a:pt x="4039442" y="1299116"/>
              </a:lnTo>
              <a:lnTo>
                <a:pt x="4039442" y="1466324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14FF47-2B2D-FD4F-8C50-04F8FD58B2EB}">
      <dsp:nvSpPr>
        <dsp:cNvPr id="0" name=""/>
        <dsp:cNvSpPr/>
      </dsp:nvSpPr>
      <dsp:spPr>
        <a:xfrm>
          <a:off x="6295584" y="3058785"/>
          <a:ext cx="304321" cy="21516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51673"/>
              </a:lnTo>
              <a:lnTo>
                <a:pt x="304321" y="2151673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3ED76A-0F5C-D84F-82CF-771526FEFBA8}">
      <dsp:nvSpPr>
        <dsp:cNvPr id="0" name=""/>
        <dsp:cNvSpPr/>
      </dsp:nvSpPr>
      <dsp:spPr>
        <a:xfrm>
          <a:off x="6295584" y="3058785"/>
          <a:ext cx="304321" cy="8667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66724"/>
              </a:lnTo>
              <a:lnTo>
                <a:pt x="304321" y="866724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6390270-C5E1-1B4D-8671-AAEB26426405}">
      <dsp:nvSpPr>
        <dsp:cNvPr id="0" name=""/>
        <dsp:cNvSpPr/>
      </dsp:nvSpPr>
      <dsp:spPr>
        <a:xfrm>
          <a:off x="5469543" y="796230"/>
          <a:ext cx="1637565" cy="14663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99116"/>
              </a:lnTo>
              <a:lnTo>
                <a:pt x="1637565" y="1299116"/>
              </a:lnTo>
              <a:lnTo>
                <a:pt x="1637565" y="1466324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4CB44E-4AC5-4D42-BF56-9911F55318E0}">
      <dsp:nvSpPr>
        <dsp:cNvPr id="0" name=""/>
        <dsp:cNvSpPr/>
      </dsp:nvSpPr>
      <dsp:spPr>
        <a:xfrm>
          <a:off x="3823088" y="3058785"/>
          <a:ext cx="322533" cy="25227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522716"/>
              </a:lnTo>
              <a:lnTo>
                <a:pt x="322533" y="2522716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760FE7-F19F-FE4D-8156-F6643E019102}">
      <dsp:nvSpPr>
        <dsp:cNvPr id="0" name=""/>
        <dsp:cNvSpPr/>
      </dsp:nvSpPr>
      <dsp:spPr>
        <a:xfrm>
          <a:off x="3823088" y="3058785"/>
          <a:ext cx="322533" cy="9767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76767"/>
              </a:lnTo>
              <a:lnTo>
                <a:pt x="322533" y="976767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33D43A4-D5F0-AD4F-9038-12A5A175A42E}">
      <dsp:nvSpPr>
        <dsp:cNvPr id="0" name=""/>
        <dsp:cNvSpPr/>
      </dsp:nvSpPr>
      <dsp:spPr>
        <a:xfrm>
          <a:off x="4683176" y="796230"/>
          <a:ext cx="786367" cy="1466324"/>
        </a:xfrm>
        <a:custGeom>
          <a:avLst/>
          <a:gdLst/>
          <a:ahLst/>
          <a:cxnLst/>
          <a:rect l="0" t="0" r="0" b="0"/>
          <a:pathLst>
            <a:path>
              <a:moveTo>
                <a:pt x="786367" y="0"/>
              </a:moveTo>
              <a:lnTo>
                <a:pt x="786367" y="1299116"/>
              </a:lnTo>
              <a:lnTo>
                <a:pt x="0" y="1299116"/>
              </a:lnTo>
              <a:lnTo>
                <a:pt x="0" y="1466324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053A1D1-01B3-BC4E-9FFC-A680F12CAE77}">
      <dsp:nvSpPr>
        <dsp:cNvPr id="0" name=""/>
        <dsp:cNvSpPr/>
      </dsp:nvSpPr>
      <dsp:spPr>
        <a:xfrm>
          <a:off x="930732" y="3058785"/>
          <a:ext cx="293742" cy="26237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623702"/>
              </a:lnTo>
              <a:lnTo>
                <a:pt x="293742" y="2623702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0A6260D-9AE0-1F43-8096-348232B86438}">
      <dsp:nvSpPr>
        <dsp:cNvPr id="0" name=""/>
        <dsp:cNvSpPr/>
      </dsp:nvSpPr>
      <dsp:spPr>
        <a:xfrm>
          <a:off x="930732" y="3058785"/>
          <a:ext cx="324078" cy="10748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074879"/>
              </a:lnTo>
              <a:lnTo>
                <a:pt x="324078" y="1074879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D1C6920-702C-C54E-9EE7-BC8804FE720D}">
      <dsp:nvSpPr>
        <dsp:cNvPr id="0" name=""/>
        <dsp:cNvSpPr/>
      </dsp:nvSpPr>
      <dsp:spPr>
        <a:xfrm>
          <a:off x="1794942" y="796230"/>
          <a:ext cx="3674601" cy="1466324"/>
        </a:xfrm>
        <a:custGeom>
          <a:avLst/>
          <a:gdLst/>
          <a:ahLst/>
          <a:cxnLst/>
          <a:rect l="0" t="0" r="0" b="0"/>
          <a:pathLst>
            <a:path>
              <a:moveTo>
                <a:pt x="3674601" y="0"/>
              </a:moveTo>
              <a:lnTo>
                <a:pt x="3674601" y="1299116"/>
              </a:lnTo>
              <a:lnTo>
                <a:pt x="0" y="1299116"/>
              </a:lnTo>
              <a:lnTo>
                <a:pt x="0" y="1466324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C2EE46-569F-BA4B-87E6-76B889BBDCC7}">
      <dsp:nvSpPr>
        <dsp:cNvPr id="0" name=""/>
        <dsp:cNvSpPr/>
      </dsp:nvSpPr>
      <dsp:spPr>
        <a:xfrm>
          <a:off x="1968056" y="0"/>
          <a:ext cx="7002973" cy="796230"/>
        </a:xfrm>
        <a:prstGeom prst="rect">
          <a:avLst/>
        </a:prstGeom>
        <a:solidFill>
          <a:schemeClr val="accent2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uy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é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e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ập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ê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ô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tin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ì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? </a:t>
          </a:r>
        </a:p>
      </dsp:txBody>
      <dsp:txXfrm>
        <a:off x="1968056" y="0"/>
        <a:ext cx="7002973" cy="796230"/>
      </dsp:txXfrm>
    </dsp:sp>
    <dsp:sp modelId="{C7BB9E3E-B2C0-DB41-9272-0C149BB7A9E9}">
      <dsp:nvSpPr>
        <dsp:cNvPr id="0" name=""/>
        <dsp:cNvSpPr/>
      </dsp:nvSpPr>
      <dsp:spPr>
        <a:xfrm>
          <a:off x="714680" y="2262554"/>
          <a:ext cx="2160523" cy="796230"/>
        </a:xfrm>
        <a:prstGeom prst="rect">
          <a:avLst/>
        </a:prstGeom>
        <a:solidFill>
          <a:schemeClr val="accent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1.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h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vi</a:t>
          </a:r>
        </a:p>
      </dsp:txBody>
      <dsp:txXfrm>
        <a:off x="714680" y="2262554"/>
        <a:ext cx="2160523" cy="796230"/>
      </dsp:txXfrm>
    </dsp:sp>
    <dsp:sp modelId="{EBFD3ECD-B864-0B4A-8803-8C72D7518219}">
      <dsp:nvSpPr>
        <dsp:cNvPr id="0" name=""/>
        <dsp:cNvSpPr/>
      </dsp:nvSpPr>
      <dsp:spPr>
        <a:xfrm>
          <a:off x="1254811" y="3393202"/>
          <a:ext cx="2556393" cy="1480924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át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ấy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h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vi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ẹ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ảy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a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3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ần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ối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ứa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: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úi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ầu</a:t>
          </a:r>
          <a:endParaRPr lang="en-GB" sz="1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ả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ời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âu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ỏi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ẹ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ông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ẻ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uốn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ác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yêu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ương</a:t>
          </a:r>
          <a:r>
            <a:rPr lang="en-GB" sz="1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sp:txBody>
      <dsp:txXfrm>
        <a:off x="1254811" y="3393202"/>
        <a:ext cx="2556393" cy="1480924"/>
      </dsp:txXfrm>
    </dsp:sp>
    <dsp:sp modelId="{0EE4A6C9-B86E-F247-B7C2-46393E99A74D}">
      <dsp:nvSpPr>
        <dsp:cNvPr id="0" name=""/>
        <dsp:cNvSpPr/>
      </dsp:nvSpPr>
      <dsp:spPr>
        <a:xfrm>
          <a:off x="1224474" y="5444801"/>
          <a:ext cx="2171240" cy="475373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ữ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oảng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h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ẹ</a:t>
          </a:r>
          <a:endParaRPr lang="en-GB" sz="16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1224474" y="5444801"/>
        <a:ext cx="2171240" cy="475373"/>
      </dsp:txXfrm>
    </dsp:sp>
    <dsp:sp modelId="{897790D7-EC38-3C40-AA5A-C2A029874E8F}">
      <dsp:nvSpPr>
        <dsp:cNvPr id="0" name=""/>
        <dsp:cNvSpPr/>
      </dsp:nvSpPr>
      <dsp:spPr>
        <a:xfrm>
          <a:off x="3608066" y="2262554"/>
          <a:ext cx="2150220" cy="796230"/>
        </a:xfrm>
        <a:prstGeom prst="rect">
          <a:avLst/>
        </a:prstGeom>
        <a:solidFill>
          <a:schemeClr val="accent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2.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m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úc</a:t>
          </a:r>
          <a:endParaRPr lang="en-GB" sz="20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3608066" y="2262554"/>
        <a:ext cx="2150220" cy="796230"/>
      </dsp:txXfrm>
    </dsp:sp>
    <dsp:sp modelId="{17BC36CD-2BEB-7B44-AF0D-05EFFAA84580}">
      <dsp:nvSpPr>
        <dsp:cNvPr id="0" name=""/>
        <dsp:cNvSpPr/>
      </dsp:nvSpPr>
      <dsp:spPr>
        <a:xfrm>
          <a:off x="4145621" y="3393202"/>
          <a:ext cx="2057538" cy="1284701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ẹ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ũng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ét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ên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“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…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iêng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”,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ỏ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ăm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Nam?</a:t>
          </a:r>
        </a:p>
      </dsp:txBody>
      <dsp:txXfrm>
        <a:off x="4145621" y="3393202"/>
        <a:ext cx="2057538" cy="1284701"/>
      </dsp:txXfrm>
    </dsp:sp>
    <dsp:sp modelId="{18A70079-B1FE-254C-86EC-384AFC7ACC17}">
      <dsp:nvSpPr>
        <dsp:cNvPr id="0" name=""/>
        <dsp:cNvSpPr/>
      </dsp:nvSpPr>
      <dsp:spPr>
        <a:xfrm>
          <a:off x="4145621" y="5012320"/>
          <a:ext cx="1592460" cy="1138362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am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ó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ậu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ấy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“…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ứa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ồi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ai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yêu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”.</a:t>
          </a:r>
        </a:p>
      </dsp:txBody>
      <dsp:txXfrm>
        <a:off x="4145621" y="5012320"/>
        <a:ext cx="1592460" cy="1138362"/>
      </dsp:txXfrm>
    </dsp:sp>
    <dsp:sp modelId="{E7E61E33-4F07-8545-B483-E1C0872C0264}">
      <dsp:nvSpPr>
        <dsp:cNvPr id="0" name=""/>
        <dsp:cNvSpPr/>
      </dsp:nvSpPr>
      <dsp:spPr>
        <a:xfrm>
          <a:off x="6092703" y="2262554"/>
          <a:ext cx="2028810" cy="796230"/>
        </a:xfrm>
        <a:prstGeom prst="rect">
          <a:avLst/>
        </a:prstGeom>
        <a:solidFill>
          <a:schemeClr val="accent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3.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Ứng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ử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MQH </a:t>
          </a:r>
        </a:p>
      </dsp:txBody>
      <dsp:txXfrm>
        <a:off x="6092703" y="2262554"/>
        <a:ext cx="2028810" cy="796230"/>
      </dsp:txXfrm>
    </dsp:sp>
    <dsp:sp modelId="{68BB586D-D5DC-B24E-817B-A7FD18FD4DB0}">
      <dsp:nvSpPr>
        <dsp:cNvPr id="0" name=""/>
        <dsp:cNvSpPr/>
      </dsp:nvSpPr>
      <dsp:spPr>
        <a:xfrm>
          <a:off x="6599905" y="3393202"/>
          <a:ext cx="1918724" cy="1064615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ẹ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ó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 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“…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ỗi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1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àng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óm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ên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can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iệp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o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uộc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ống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ô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ấy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”</a:t>
          </a:r>
        </a:p>
      </dsp:txBody>
      <dsp:txXfrm>
        <a:off x="6599905" y="3393202"/>
        <a:ext cx="1918724" cy="1064615"/>
      </dsp:txXfrm>
    </dsp:sp>
    <dsp:sp modelId="{6D6669F6-23B2-2146-A6EE-1CCB2A3674AA}">
      <dsp:nvSpPr>
        <dsp:cNvPr id="0" name=""/>
        <dsp:cNvSpPr/>
      </dsp:nvSpPr>
      <dsp:spPr>
        <a:xfrm>
          <a:off x="6599905" y="4792234"/>
          <a:ext cx="1910491" cy="836448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am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ến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à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ậu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ấy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“..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ích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”.</a:t>
          </a:r>
        </a:p>
      </dsp:txBody>
      <dsp:txXfrm>
        <a:off x="6599905" y="4792234"/>
        <a:ext cx="1910491" cy="836448"/>
      </dsp:txXfrm>
    </dsp:sp>
    <dsp:sp modelId="{C1A33E56-2793-E04F-9734-1AE95F405D11}">
      <dsp:nvSpPr>
        <dsp:cNvPr id="0" name=""/>
        <dsp:cNvSpPr/>
      </dsp:nvSpPr>
      <dsp:spPr>
        <a:xfrm>
          <a:off x="8455930" y="2262554"/>
          <a:ext cx="2106109" cy="796230"/>
        </a:xfrm>
        <a:prstGeom prst="rect">
          <a:avLst/>
        </a:prstGeom>
        <a:solidFill>
          <a:schemeClr val="accent2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4.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n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ình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ư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uy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uy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hĩ</a:t>
          </a:r>
          <a:endParaRPr lang="en-GB" sz="20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8455930" y="2262554"/>
        <a:ext cx="2106109" cy="796230"/>
      </dsp:txXfrm>
    </dsp:sp>
    <dsp:sp modelId="{59ED0169-F0D4-7044-9325-9901DDF62D03}">
      <dsp:nvSpPr>
        <dsp:cNvPr id="0" name=""/>
        <dsp:cNvSpPr/>
      </dsp:nvSpPr>
      <dsp:spPr>
        <a:xfrm>
          <a:off x="8982458" y="3393202"/>
          <a:ext cx="2494860" cy="1895426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am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ặp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ở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ớp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ọc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ó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ậu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ấy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“…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uốn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ói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ôi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i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iều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ồi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ệ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”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ậu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ấy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ắt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ầu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ó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ắt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ầu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“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i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ày</a:t>
          </a:r>
          <a:r>
            <a:rPr lang="en-GB" sz="1600" i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” 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–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au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ó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ở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ên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ố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ối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ắt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ầu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ở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ên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im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6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ặng</a:t>
          </a:r>
          <a:r>
            <a:rPr lang="en-GB" sz="16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sp:txBody>
      <dsp:txXfrm>
        <a:off x="8982458" y="3393202"/>
        <a:ext cx="2494860" cy="1895426"/>
      </dsp:txXfrm>
    </dsp:sp>
    <dsp:sp modelId="{73FCA5CA-2118-AE40-BF5C-8D7B2EE5DD22}">
      <dsp:nvSpPr>
        <dsp:cNvPr id="0" name=""/>
        <dsp:cNvSpPr/>
      </dsp:nvSpPr>
      <dsp:spPr>
        <a:xfrm>
          <a:off x="2073031" y="1131907"/>
          <a:ext cx="3398120" cy="796230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ể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iên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endParaRPr lang="en-GB" sz="20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2073031" y="1131907"/>
        <a:ext cx="3398120" cy="796230"/>
      </dsp:txXfrm>
    </dsp:sp>
    <dsp:sp modelId="{E01239BD-21F8-9044-8D3B-19A1D8B4D8D7}">
      <dsp:nvSpPr>
        <dsp:cNvPr id="0" name=""/>
        <dsp:cNvSpPr/>
      </dsp:nvSpPr>
      <dsp:spPr>
        <a:xfrm>
          <a:off x="5805568" y="1131907"/>
          <a:ext cx="3166608" cy="796230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ể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iên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0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endParaRPr lang="en-GB" sz="20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5805568" y="1131907"/>
        <a:ext cx="3166608" cy="796230"/>
      </dsp:txXfrm>
    </dsp:sp>
  </dsp:spTree>
</dsp:drawing>
</file>

<file path=ppt/diagrams/drawing3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4C94E3-49F2-0E44-9B8B-EF6643F2876D}">
      <dsp:nvSpPr>
        <dsp:cNvPr id="0" name=""/>
        <dsp:cNvSpPr/>
      </dsp:nvSpPr>
      <dsp:spPr>
        <a:xfrm>
          <a:off x="1867905" y="609"/>
          <a:ext cx="3162642" cy="959941"/>
        </a:xfrm>
        <a:prstGeom prst="roundRect">
          <a:avLst>
            <a:gd name="adj" fmla="val 10000"/>
          </a:avLst>
        </a:prstGeom>
        <a:solidFill>
          <a:schemeClr val="accent2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ầu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ên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n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ánh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</a:t>
          </a:r>
          <a:endParaRPr lang="en-GB" sz="32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1896021" y="28725"/>
        <a:ext cx="3106410" cy="903709"/>
      </dsp:txXfrm>
    </dsp:sp>
    <dsp:sp modelId="{BF021751-6BB3-AB4E-9ABD-F5AB8104B6A2}">
      <dsp:nvSpPr>
        <dsp:cNvPr id="0" name=""/>
        <dsp:cNvSpPr/>
      </dsp:nvSpPr>
      <dsp:spPr>
        <a:xfrm>
          <a:off x="2184169" y="960550"/>
          <a:ext cx="316264" cy="7199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9956"/>
              </a:lnTo>
              <a:lnTo>
                <a:pt x="316264" y="719956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F408C4-4A9F-6D48-9503-7E90AED5DA25}">
      <dsp:nvSpPr>
        <dsp:cNvPr id="0" name=""/>
        <dsp:cNvSpPr/>
      </dsp:nvSpPr>
      <dsp:spPr>
        <a:xfrm>
          <a:off x="2500433" y="1200536"/>
          <a:ext cx="3427989" cy="95994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Liệu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vấn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đề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liên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quan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nhu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em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hay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?</a:t>
          </a:r>
        </a:p>
      </dsp:txBody>
      <dsp:txXfrm>
        <a:off x="2528549" y="1228652"/>
        <a:ext cx="3371757" cy="903709"/>
      </dsp:txXfrm>
    </dsp:sp>
    <dsp:sp modelId="{1FE6F307-9CD9-6D42-B6AF-077BCDAEC26E}">
      <dsp:nvSpPr>
        <dsp:cNvPr id="0" name=""/>
        <dsp:cNvSpPr/>
      </dsp:nvSpPr>
      <dsp:spPr>
        <a:xfrm>
          <a:off x="2184169" y="960550"/>
          <a:ext cx="316264" cy="20954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95427"/>
              </a:lnTo>
              <a:lnTo>
                <a:pt x="316264" y="2095427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4F5C7CA-9B1B-AE48-8A77-210F4925E050}">
      <dsp:nvSpPr>
        <dsp:cNvPr id="0" name=""/>
        <dsp:cNvSpPr/>
      </dsp:nvSpPr>
      <dsp:spPr>
        <a:xfrm>
          <a:off x="2500433" y="2400462"/>
          <a:ext cx="3504984" cy="131103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2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khả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năng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: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Đúng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?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Sai ?</a:t>
          </a:r>
        </a:p>
      </dsp:txBody>
      <dsp:txXfrm>
        <a:off x="2538832" y="2438861"/>
        <a:ext cx="3428186" cy="1234232"/>
      </dsp:txXfrm>
    </dsp:sp>
    <dsp:sp modelId="{C26B1347-3F69-5745-88ED-087AD8DB29CB}">
      <dsp:nvSpPr>
        <dsp:cNvPr id="0" name=""/>
        <dsp:cNvSpPr/>
      </dsp:nvSpPr>
      <dsp:spPr>
        <a:xfrm>
          <a:off x="2184169" y="960550"/>
          <a:ext cx="316264" cy="34708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470898"/>
              </a:lnTo>
              <a:lnTo>
                <a:pt x="316264" y="3470898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6DD859-EC90-1341-8B79-691B74265EF2}">
      <dsp:nvSpPr>
        <dsp:cNvPr id="0" name=""/>
        <dsp:cNvSpPr/>
      </dsp:nvSpPr>
      <dsp:spPr>
        <a:xfrm>
          <a:off x="2500433" y="3951478"/>
          <a:ext cx="5810625" cy="95994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Nếu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đúng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?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Các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thông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tin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thu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liên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quan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nghi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ngại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về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hợp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XHTE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?</a:t>
          </a:r>
        </a:p>
      </dsp:txBody>
      <dsp:txXfrm>
        <a:off x="2528549" y="3979594"/>
        <a:ext cx="5754393" cy="903709"/>
      </dsp:txXfrm>
    </dsp:sp>
    <dsp:sp modelId="{CCCC05D2-2AED-9C47-A76D-A56C53D49ADC}">
      <dsp:nvSpPr>
        <dsp:cNvPr id="0" name=""/>
        <dsp:cNvSpPr/>
      </dsp:nvSpPr>
      <dsp:spPr>
        <a:xfrm>
          <a:off x="2184169" y="960550"/>
          <a:ext cx="316264" cy="46708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670825"/>
              </a:lnTo>
              <a:lnTo>
                <a:pt x="316264" y="4670825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7A82C23-D882-2540-A7B0-EDFF11694A68}">
      <dsp:nvSpPr>
        <dsp:cNvPr id="0" name=""/>
        <dsp:cNvSpPr/>
      </dsp:nvSpPr>
      <dsp:spPr>
        <a:xfrm>
          <a:off x="2500433" y="5151405"/>
          <a:ext cx="7823660" cy="95994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Nếu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đúng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,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thực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hiện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việc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đánh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giá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tình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trạng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xâm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TE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Nếu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sai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,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thể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chuyển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gửi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CB an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sinh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/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chính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sách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xã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hội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.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Hoặc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dịch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vụ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an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sinh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xã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hội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nào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đó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khả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năng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xử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lý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hợp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này</a:t>
          </a:r>
          <a:endParaRPr lang="en-GB" sz="20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528549" y="5179521"/>
        <a:ext cx="7767428" cy="903709"/>
      </dsp:txXfrm>
    </dsp:sp>
    <dsp:sp modelId="{7387F9F3-479F-4E48-9D0C-83B21D9DFF9E}">
      <dsp:nvSpPr>
        <dsp:cNvPr id="0" name=""/>
        <dsp:cNvSpPr/>
      </dsp:nvSpPr>
      <dsp:spPr>
        <a:xfrm>
          <a:off x="5855206" y="609"/>
          <a:ext cx="3150911" cy="959941"/>
        </a:xfrm>
        <a:prstGeom prst="roundRect">
          <a:avLst>
            <a:gd name="adj" fmla="val 10000"/>
          </a:avLst>
        </a:prstGeom>
        <a:solidFill>
          <a:schemeClr val="accent5">
            <a:lumMod val="20000"/>
            <a:lumOff val="8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40640" rIns="6096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eo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n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ánh</a:t>
          </a:r>
          <a:r>
            <a:rPr lang="en-GB" sz="32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32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</a:t>
          </a:r>
          <a:endParaRPr lang="en-GB" sz="32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5883322" y="28725"/>
        <a:ext cx="3094679" cy="903709"/>
      </dsp:txXfrm>
    </dsp:sp>
    <dsp:sp modelId="{F8B389D0-10BF-F347-B598-3C271B02A9EF}">
      <dsp:nvSpPr>
        <dsp:cNvPr id="0" name=""/>
        <dsp:cNvSpPr/>
      </dsp:nvSpPr>
      <dsp:spPr>
        <a:xfrm>
          <a:off x="6170297" y="960550"/>
          <a:ext cx="315091" cy="7199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9956"/>
              </a:lnTo>
              <a:lnTo>
                <a:pt x="315091" y="719956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C4BFC0-D448-5648-B060-B3027DA6BA72}">
      <dsp:nvSpPr>
        <dsp:cNvPr id="0" name=""/>
        <dsp:cNvSpPr/>
      </dsp:nvSpPr>
      <dsp:spPr>
        <a:xfrm>
          <a:off x="6485388" y="1200536"/>
          <a:ext cx="3267179" cy="95994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Liệu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có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vấn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đề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liên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quan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XHTE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?</a:t>
          </a:r>
        </a:p>
      </dsp:txBody>
      <dsp:txXfrm>
        <a:off x="6513504" y="1228652"/>
        <a:ext cx="3210947" cy="903709"/>
      </dsp:txXfrm>
    </dsp:sp>
    <dsp:sp modelId="{6AB88FEF-2F07-9245-BF77-DA09D4BCF749}">
      <dsp:nvSpPr>
        <dsp:cNvPr id="0" name=""/>
        <dsp:cNvSpPr/>
      </dsp:nvSpPr>
      <dsp:spPr>
        <a:xfrm>
          <a:off x="6170297" y="960550"/>
          <a:ext cx="315091" cy="191988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19882"/>
              </a:lnTo>
              <a:lnTo>
                <a:pt x="315091" y="1919882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F90F84-58CE-6846-8793-78ADEE8C0503}">
      <dsp:nvSpPr>
        <dsp:cNvPr id="0" name=""/>
        <dsp:cNvSpPr/>
      </dsp:nvSpPr>
      <dsp:spPr>
        <a:xfrm>
          <a:off x="6485388" y="2400462"/>
          <a:ext cx="2350366" cy="95994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Chuyển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bước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4. Ra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quyết</a:t>
          </a:r>
          <a:r>
            <a:rPr lang="en-GB" sz="20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GB" sz="2000" kern="1200" dirty="0" err="1">
              <a:latin typeface="Times New Roman" pitchFamily="18" charset="0"/>
              <a:cs typeface="Times New Roman" pitchFamily="18" charset="0"/>
            </a:rPr>
            <a:t>định</a:t>
          </a:r>
          <a:endParaRPr lang="en-GB" sz="20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6513504" y="2428578"/>
        <a:ext cx="2294134" cy="903709"/>
      </dsp:txXfrm>
    </dsp:sp>
  </dsp:spTree>
</dsp:drawing>
</file>

<file path=ppt/diagrams/drawing3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0657E4-DCDC-C44A-BBB0-F13D121B0C53}">
      <dsp:nvSpPr>
        <dsp:cNvPr id="0" name=""/>
        <dsp:cNvSpPr/>
      </dsp:nvSpPr>
      <dsp:spPr>
        <a:xfrm>
          <a:off x="2090454" y="-2413792"/>
          <a:ext cx="8242566" cy="8242566"/>
        </a:xfrm>
        <a:prstGeom prst="circularArrow">
          <a:avLst>
            <a:gd name="adj1" fmla="val 4069"/>
            <a:gd name="adj2" fmla="val 255768"/>
            <a:gd name="adj3" fmla="val 10200457"/>
            <a:gd name="adj4" fmla="val -1375099"/>
            <a:gd name="adj5" fmla="val 4748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ECE4DF9-09A0-434A-8499-B8DFAB2AD351}">
      <dsp:nvSpPr>
        <dsp:cNvPr id="0" name=""/>
        <dsp:cNvSpPr/>
      </dsp:nvSpPr>
      <dsp:spPr>
        <a:xfrm>
          <a:off x="2453834" y="662543"/>
          <a:ext cx="7515805" cy="2089895"/>
        </a:xfrm>
        <a:prstGeom prst="round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1. Gia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ình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quyền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iết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rằng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ỉ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am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ào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iến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ình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ợ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giúp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ới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iết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ề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ố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áo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ày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ây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guyên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ắc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ật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điều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iện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.</a:t>
          </a:r>
        </a:p>
      </dsp:txBody>
      <dsp:txXfrm>
        <a:off x="2555854" y="764563"/>
        <a:ext cx="7311765" cy="1885855"/>
      </dsp:txXfrm>
    </dsp:sp>
    <dsp:sp modelId="{11538585-9A04-0148-B69C-8DE801BB274F}">
      <dsp:nvSpPr>
        <dsp:cNvPr id="0" name=""/>
        <dsp:cNvSpPr/>
      </dsp:nvSpPr>
      <dsp:spPr>
        <a:xfrm>
          <a:off x="2546542" y="3615613"/>
          <a:ext cx="7098913" cy="2161181"/>
        </a:xfrm>
        <a:prstGeom prst="roundRect">
          <a:avLst/>
        </a:prstGeom>
        <a:solidFill>
          <a:schemeClr val="accent4">
            <a:lumMod val="60000"/>
            <a:lumOff val="4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2.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ạn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ên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ảo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luận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huyện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xảy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ra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ất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kỳ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ai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rừ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phù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mà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bạn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ần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phải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ung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US" sz="2800" kern="1200" dirty="0" err="1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thông</a:t>
          </a:r>
          <a:r>
            <a:rPr lang="en-US" sz="2800" kern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tin.</a:t>
          </a:r>
        </a:p>
      </dsp:txBody>
      <dsp:txXfrm>
        <a:off x="2652042" y="3721113"/>
        <a:ext cx="6887913" cy="195018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AB6695-9CA0-CA41-9198-7FAE33DA7CBB}">
      <dsp:nvSpPr>
        <dsp:cNvPr id="0" name=""/>
        <dsp:cNvSpPr/>
      </dsp:nvSpPr>
      <dsp:spPr>
        <a:xfrm>
          <a:off x="5630650" y="1892836"/>
          <a:ext cx="267229" cy="1170720"/>
        </a:xfrm>
        <a:custGeom>
          <a:avLst/>
          <a:gdLst/>
          <a:ahLst/>
          <a:cxnLst/>
          <a:rect l="0" t="0" r="0" b="0"/>
          <a:pathLst>
            <a:path>
              <a:moveTo>
                <a:pt x="267229" y="0"/>
              </a:moveTo>
              <a:lnTo>
                <a:pt x="267229" y="1170720"/>
              </a:lnTo>
              <a:lnTo>
                <a:pt x="0" y="1170720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5B6FAE-4A08-2840-B2AE-E3625A3FF85B}">
      <dsp:nvSpPr>
        <dsp:cNvPr id="0" name=""/>
        <dsp:cNvSpPr/>
      </dsp:nvSpPr>
      <dsp:spPr>
        <a:xfrm>
          <a:off x="5897880" y="1892836"/>
          <a:ext cx="4619256" cy="23414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74211"/>
              </a:lnTo>
              <a:lnTo>
                <a:pt x="4619256" y="2074211"/>
              </a:lnTo>
              <a:lnTo>
                <a:pt x="4619256" y="2341441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41BA4F-6939-CB43-8B29-1C706EB4B2EA}">
      <dsp:nvSpPr>
        <dsp:cNvPr id="0" name=""/>
        <dsp:cNvSpPr/>
      </dsp:nvSpPr>
      <dsp:spPr>
        <a:xfrm>
          <a:off x="5897880" y="1892836"/>
          <a:ext cx="1539752" cy="23414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74211"/>
              </a:lnTo>
              <a:lnTo>
                <a:pt x="1539752" y="2074211"/>
              </a:lnTo>
              <a:lnTo>
                <a:pt x="1539752" y="2341441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1E9E36-9C25-ED4C-A894-367EEBCD67E0}">
      <dsp:nvSpPr>
        <dsp:cNvPr id="0" name=""/>
        <dsp:cNvSpPr/>
      </dsp:nvSpPr>
      <dsp:spPr>
        <a:xfrm>
          <a:off x="4358127" y="1892836"/>
          <a:ext cx="1539752" cy="2341441"/>
        </a:xfrm>
        <a:custGeom>
          <a:avLst/>
          <a:gdLst/>
          <a:ahLst/>
          <a:cxnLst/>
          <a:rect l="0" t="0" r="0" b="0"/>
          <a:pathLst>
            <a:path>
              <a:moveTo>
                <a:pt x="1539752" y="0"/>
              </a:moveTo>
              <a:lnTo>
                <a:pt x="1539752" y="2074211"/>
              </a:lnTo>
              <a:lnTo>
                <a:pt x="0" y="2074211"/>
              </a:lnTo>
              <a:lnTo>
                <a:pt x="0" y="2341441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1DD78EC-5CA0-784E-A6A4-C7E26D49E8D8}">
      <dsp:nvSpPr>
        <dsp:cNvPr id="0" name=""/>
        <dsp:cNvSpPr/>
      </dsp:nvSpPr>
      <dsp:spPr>
        <a:xfrm>
          <a:off x="1278623" y="1892836"/>
          <a:ext cx="4619256" cy="2341441"/>
        </a:xfrm>
        <a:custGeom>
          <a:avLst/>
          <a:gdLst/>
          <a:ahLst/>
          <a:cxnLst/>
          <a:rect l="0" t="0" r="0" b="0"/>
          <a:pathLst>
            <a:path>
              <a:moveTo>
                <a:pt x="4619256" y="0"/>
              </a:moveTo>
              <a:lnTo>
                <a:pt x="4619256" y="2074211"/>
              </a:lnTo>
              <a:lnTo>
                <a:pt x="0" y="2074211"/>
              </a:lnTo>
              <a:lnTo>
                <a:pt x="0" y="2341441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B8B1E26-6FFF-2448-920E-393C5DDCA88F}">
      <dsp:nvSpPr>
        <dsp:cNvPr id="0" name=""/>
        <dsp:cNvSpPr/>
      </dsp:nvSpPr>
      <dsp:spPr>
        <a:xfrm>
          <a:off x="3002599" y="620314"/>
          <a:ext cx="5790561" cy="1272522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iều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ai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ò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ách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iệm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BVTE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ệ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ống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ịch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ụ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BVTE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ính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ống</a:t>
          </a:r>
          <a:endParaRPr lang="en-GB" sz="25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3002599" y="620314"/>
        <a:ext cx="5790561" cy="1272522"/>
      </dsp:txXfrm>
    </dsp:sp>
    <dsp:sp modelId="{8FA6D1B5-D2F3-C74F-9F04-CFCDB297F3C3}">
      <dsp:nvSpPr>
        <dsp:cNvPr id="0" name=""/>
        <dsp:cNvSpPr/>
      </dsp:nvSpPr>
      <dsp:spPr>
        <a:xfrm>
          <a:off x="6101" y="4234278"/>
          <a:ext cx="2545044" cy="1272522"/>
        </a:xfrm>
        <a:prstGeom prst="rect">
          <a:avLst/>
        </a:prstGeom>
        <a:solidFill>
          <a:srgbClr val="FFFF00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1</a:t>
          </a:r>
        </a:p>
      </dsp:txBody>
      <dsp:txXfrm>
        <a:off x="6101" y="4234278"/>
        <a:ext cx="2545044" cy="1272522"/>
      </dsp:txXfrm>
    </dsp:sp>
    <dsp:sp modelId="{970DB932-4CEA-C748-BBF1-791683D6CC51}">
      <dsp:nvSpPr>
        <dsp:cNvPr id="0" name=""/>
        <dsp:cNvSpPr/>
      </dsp:nvSpPr>
      <dsp:spPr>
        <a:xfrm>
          <a:off x="3085605" y="4234278"/>
          <a:ext cx="2545044" cy="1272522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2A</a:t>
          </a:r>
        </a:p>
      </dsp:txBody>
      <dsp:txXfrm>
        <a:off x="3085605" y="4234278"/>
        <a:ext cx="2545044" cy="1272522"/>
      </dsp:txXfrm>
    </dsp:sp>
    <dsp:sp modelId="{A100592B-F90E-4E40-BCB3-657F772DEB7A}">
      <dsp:nvSpPr>
        <dsp:cNvPr id="0" name=""/>
        <dsp:cNvSpPr/>
      </dsp:nvSpPr>
      <dsp:spPr>
        <a:xfrm>
          <a:off x="6165109" y="4234278"/>
          <a:ext cx="2545044" cy="1272522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2B</a:t>
          </a:r>
        </a:p>
      </dsp:txBody>
      <dsp:txXfrm>
        <a:off x="6165109" y="4234278"/>
        <a:ext cx="2545044" cy="1272522"/>
      </dsp:txXfrm>
    </dsp:sp>
    <dsp:sp modelId="{E29E2480-622F-0846-99F2-83682CAD65E5}">
      <dsp:nvSpPr>
        <dsp:cNvPr id="0" name=""/>
        <dsp:cNvSpPr/>
      </dsp:nvSpPr>
      <dsp:spPr>
        <a:xfrm>
          <a:off x="9244613" y="4234278"/>
          <a:ext cx="2545044" cy="1272522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 3</a:t>
          </a:r>
        </a:p>
      </dsp:txBody>
      <dsp:txXfrm>
        <a:off x="9244613" y="4234278"/>
        <a:ext cx="2545044" cy="1272522"/>
      </dsp:txXfrm>
    </dsp:sp>
    <dsp:sp modelId="{29C373C0-FDE7-0644-A46C-8FB1A35538DA}">
      <dsp:nvSpPr>
        <dsp:cNvPr id="0" name=""/>
        <dsp:cNvSpPr/>
      </dsp:nvSpPr>
      <dsp:spPr>
        <a:xfrm>
          <a:off x="3085605" y="2427296"/>
          <a:ext cx="2545044" cy="1272522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ách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iệm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ày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ân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chia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ành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4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GB" sz="25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5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ộ</a:t>
          </a:r>
          <a:endParaRPr lang="en-GB" sz="25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3085605" y="2427296"/>
        <a:ext cx="2545044" cy="127252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B3C70B-0617-4F52-82EA-5EDEBBA64F38}">
      <dsp:nvSpPr>
        <dsp:cNvPr id="0" name=""/>
        <dsp:cNvSpPr/>
      </dsp:nvSpPr>
      <dsp:spPr>
        <a:xfrm>
          <a:off x="3177816" y="-170059"/>
          <a:ext cx="5760167" cy="5760167"/>
        </a:xfrm>
        <a:prstGeom prst="circularArrow">
          <a:avLst>
            <a:gd name="adj1" fmla="val 4668"/>
            <a:gd name="adj2" fmla="val 272909"/>
            <a:gd name="adj3" fmla="val 12777461"/>
            <a:gd name="adj4" fmla="val 18067829"/>
            <a:gd name="adj5" fmla="val 484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97D4673-F153-48F1-81BA-9C6DF90329BC}">
      <dsp:nvSpPr>
        <dsp:cNvPr id="0" name=""/>
        <dsp:cNvSpPr/>
      </dsp:nvSpPr>
      <dsp:spPr>
        <a:xfrm>
          <a:off x="4114520" y="2044"/>
          <a:ext cx="3886758" cy="19433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ai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ò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ông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áo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ố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o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-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ân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ộng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ồng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ân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ên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ổ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ức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ai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ò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iêng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iệt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ệ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[</a:t>
          </a:r>
          <a:r>
            <a:rPr lang="en-GB" sz="2100" kern="1200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Cán</a:t>
          </a:r>
          <a:r>
            <a:rPr lang="en-GB" sz="2100" kern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bộ</a:t>
          </a:r>
          <a:r>
            <a:rPr lang="en-GB" sz="2100" kern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BVTE </a:t>
          </a:r>
          <a:r>
            <a:rPr lang="en-GB" sz="2100" kern="1200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GB" sz="2100" kern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sz="2100" kern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1]</a:t>
          </a:r>
          <a:endParaRPr lang="en-US" sz="21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4209388" y="96912"/>
        <a:ext cx="3697022" cy="1753643"/>
      </dsp:txXfrm>
    </dsp:sp>
    <dsp:sp modelId="{BE7CE3F1-05B5-4BC6-AE43-9B1D41104992}">
      <dsp:nvSpPr>
        <dsp:cNvPr id="0" name=""/>
        <dsp:cNvSpPr/>
      </dsp:nvSpPr>
      <dsp:spPr>
        <a:xfrm>
          <a:off x="6182803" y="2070327"/>
          <a:ext cx="3886758" cy="19433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ai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ò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ệ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ực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[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m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ực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]. </a:t>
          </a: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[</a:t>
          </a:r>
          <a:r>
            <a:rPr lang="en-GB" sz="2100" kern="1200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Cán</a:t>
          </a:r>
          <a:r>
            <a:rPr lang="en-GB" sz="2100" kern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bộ</a:t>
          </a:r>
          <a:r>
            <a:rPr lang="en-GB" sz="2100" kern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BVTE </a:t>
          </a:r>
          <a:r>
            <a:rPr lang="en-GB" sz="2100" kern="1200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GB" sz="2100" kern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sz="2100" kern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2A]</a:t>
          </a:r>
          <a:endParaRPr lang="en-US" sz="21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6277671" y="2165195"/>
        <a:ext cx="3697022" cy="1753643"/>
      </dsp:txXfrm>
    </dsp:sp>
    <dsp:sp modelId="{FE02DED6-B9CF-4DA0-92BE-F48CBDE3B3B2}">
      <dsp:nvSpPr>
        <dsp:cNvPr id="0" name=""/>
        <dsp:cNvSpPr/>
      </dsp:nvSpPr>
      <dsp:spPr>
        <a:xfrm>
          <a:off x="4114520" y="4138610"/>
          <a:ext cx="3886758" cy="19433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ai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ò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ệ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ực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[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m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ực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]. </a:t>
          </a: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[</a:t>
          </a:r>
          <a:r>
            <a:rPr lang="en-GB" sz="2100" kern="1200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Cán</a:t>
          </a:r>
          <a:r>
            <a:rPr lang="en-GB" sz="2100" kern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bộ</a:t>
          </a:r>
          <a:r>
            <a:rPr lang="en-GB" sz="2100" kern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BVTE </a:t>
          </a:r>
          <a:r>
            <a:rPr lang="en-GB" sz="2100" kern="1200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GB" sz="2100" kern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sz="2100" kern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2B]</a:t>
          </a:r>
          <a:endParaRPr lang="en-US" sz="21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4209388" y="4233478"/>
        <a:ext cx="3697022" cy="1753643"/>
      </dsp:txXfrm>
    </dsp:sp>
    <dsp:sp modelId="{2867155C-2404-42C6-AC3F-CCFA28F96CD2}">
      <dsp:nvSpPr>
        <dsp:cNvPr id="0" name=""/>
        <dsp:cNvSpPr/>
      </dsp:nvSpPr>
      <dsp:spPr>
        <a:xfrm>
          <a:off x="2046238" y="2070327"/>
          <a:ext cx="3886758" cy="194337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ai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ò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ệ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ực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ân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ên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BVTE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ốt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hiệp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CTXH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ương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ự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 [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m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ực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GB" sz="21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]. </a:t>
          </a: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100" kern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[</a:t>
          </a:r>
          <a:r>
            <a:rPr lang="en-GB" sz="2100" kern="1200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Cán</a:t>
          </a:r>
          <a:r>
            <a:rPr lang="en-GB" sz="2100" kern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bộ</a:t>
          </a:r>
          <a:r>
            <a:rPr lang="en-GB" sz="2100" kern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BVTE </a:t>
          </a:r>
          <a:r>
            <a:rPr lang="en-GB" sz="2100" kern="1200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GB" sz="2100" kern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100" kern="1200" dirty="0" err="1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độ</a:t>
          </a:r>
          <a:r>
            <a:rPr lang="en-GB" sz="2100" kern="1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rPr>
            <a:t> 3]</a:t>
          </a:r>
          <a:endParaRPr lang="en-US" sz="21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141106" y="2165195"/>
        <a:ext cx="3697022" cy="175364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8C4EAA-DB0F-4056-BD97-CE57F439282D}">
      <dsp:nvSpPr>
        <dsp:cNvPr id="0" name=""/>
        <dsp:cNvSpPr/>
      </dsp:nvSpPr>
      <dsp:spPr>
        <a:xfrm>
          <a:off x="3025334" y="-38080"/>
          <a:ext cx="5740838" cy="5740838"/>
        </a:xfrm>
        <a:prstGeom prst="circularArrow">
          <a:avLst>
            <a:gd name="adj1" fmla="val 5544"/>
            <a:gd name="adj2" fmla="val 330680"/>
            <a:gd name="adj3" fmla="val 13725589"/>
            <a:gd name="adj4" fmla="val 17416675"/>
            <a:gd name="adj5" fmla="val 5757"/>
          </a:avLst>
        </a:prstGeom>
        <a:solidFill>
          <a:schemeClr val="accent6">
            <a:tint val="5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9C6FEC-D41C-4391-BAA8-85E11AB68BEF}">
      <dsp:nvSpPr>
        <dsp:cNvPr id="0" name=""/>
        <dsp:cNvSpPr/>
      </dsp:nvSpPr>
      <dsp:spPr>
        <a:xfrm>
          <a:off x="4522572" y="1753"/>
          <a:ext cx="2746361" cy="1373180"/>
        </a:xfrm>
        <a:prstGeom prst="roundRect">
          <a:avLst/>
        </a:prstGeom>
        <a:solidFill>
          <a:schemeClr val="accent6">
            <a:shade val="5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 err="1"/>
            <a:t>Giáo</a:t>
          </a:r>
          <a:r>
            <a:rPr lang="en-US" sz="3600" kern="1200" dirty="0"/>
            <a:t> </a:t>
          </a:r>
          <a:r>
            <a:rPr lang="en-US" sz="3600" kern="1200" dirty="0" err="1"/>
            <a:t>viên</a:t>
          </a:r>
          <a:endParaRPr lang="en-US" sz="36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4589605" y="68786"/>
        <a:ext cx="2612295" cy="1239114"/>
      </dsp:txXfrm>
    </dsp:sp>
    <dsp:sp modelId="{46B81882-F036-46C6-96AC-1EF50D6AC191}">
      <dsp:nvSpPr>
        <dsp:cNvPr id="0" name=""/>
        <dsp:cNvSpPr/>
      </dsp:nvSpPr>
      <dsp:spPr>
        <a:xfrm>
          <a:off x="6850872" y="1693362"/>
          <a:ext cx="2746361" cy="1373180"/>
        </a:xfrm>
        <a:prstGeom prst="roundRect">
          <a:avLst/>
        </a:prstGeom>
        <a:solidFill>
          <a:schemeClr val="accent6">
            <a:shade val="50000"/>
            <a:hueOff val="-237264"/>
            <a:satOff val="-10847"/>
            <a:lumOff val="18548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 err="1">
              <a:latin typeface="Times New Roman" pitchFamily="18" charset="0"/>
              <a:cs typeface="Times New Roman" pitchFamily="18" charset="0"/>
            </a:rPr>
            <a:t>Cán</a:t>
          </a:r>
          <a:r>
            <a:rPr lang="en-US" sz="36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600" kern="1200" dirty="0" err="1">
              <a:latin typeface="Times New Roman" pitchFamily="18" charset="0"/>
              <a:cs typeface="Times New Roman" pitchFamily="18" charset="0"/>
            </a:rPr>
            <a:t>bộ</a:t>
          </a:r>
          <a:r>
            <a:rPr lang="en-US" sz="36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600" kern="1200" dirty="0" err="1">
              <a:latin typeface="Times New Roman" pitchFamily="18" charset="0"/>
              <a:cs typeface="Times New Roman" pitchFamily="18" charset="0"/>
            </a:rPr>
            <a:t>hành</a:t>
          </a:r>
          <a:r>
            <a:rPr lang="en-US" sz="36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600" kern="1200" dirty="0" err="1">
              <a:latin typeface="Times New Roman" pitchFamily="18" charset="0"/>
              <a:cs typeface="Times New Roman" pitchFamily="18" charset="0"/>
            </a:rPr>
            <a:t>chính</a:t>
          </a:r>
          <a:endParaRPr lang="en-US" sz="36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6917905" y="1760395"/>
        <a:ext cx="2612295" cy="1239114"/>
      </dsp:txXfrm>
    </dsp:sp>
    <dsp:sp modelId="{B8E48435-2079-40D8-8BE9-1868623281DC}">
      <dsp:nvSpPr>
        <dsp:cNvPr id="0" name=""/>
        <dsp:cNvSpPr/>
      </dsp:nvSpPr>
      <dsp:spPr>
        <a:xfrm>
          <a:off x="5961540" y="4430442"/>
          <a:ext cx="2746361" cy="1373180"/>
        </a:xfrm>
        <a:prstGeom prst="roundRect">
          <a:avLst/>
        </a:prstGeom>
        <a:solidFill>
          <a:schemeClr val="accent6">
            <a:shade val="50000"/>
            <a:hueOff val="-474529"/>
            <a:satOff val="-21694"/>
            <a:lumOff val="37096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 err="1">
              <a:latin typeface="Times New Roman" pitchFamily="18" charset="0"/>
              <a:cs typeface="Times New Roman" pitchFamily="18" charset="0"/>
            </a:rPr>
            <a:t>Cán</a:t>
          </a:r>
          <a:r>
            <a:rPr lang="en-US" sz="36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600" kern="1200" dirty="0" err="1">
              <a:latin typeface="Times New Roman" pitchFamily="18" charset="0"/>
              <a:cs typeface="Times New Roman" pitchFamily="18" charset="0"/>
            </a:rPr>
            <a:t>bộ</a:t>
          </a:r>
          <a:r>
            <a:rPr lang="en-US" sz="3600" kern="1200" dirty="0">
              <a:latin typeface="Times New Roman" pitchFamily="18" charset="0"/>
              <a:cs typeface="Times New Roman" pitchFamily="18" charset="0"/>
            </a:rPr>
            <a:t> y </a:t>
          </a:r>
          <a:r>
            <a:rPr lang="en-US" sz="3600" kern="1200" dirty="0" err="1">
              <a:latin typeface="Times New Roman" pitchFamily="18" charset="0"/>
              <a:cs typeface="Times New Roman" pitchFamily="18" charset="0"/>
            </a:rPr>
            <a:t>tế</a:t>
          </a:r>
          <a:endParaRPr lang="en-US" sz="36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6028573" y="4497475"/>
        <a:ext cx="2612295" cy="1239114"/>
      </dsp:txXfrm>
    </dsp:sp>
    <dsp:sp modelId="{7573156C-C5E9-4B7A-8F99-E464DBC1848D}">
      <dsp:nvSpPr>
        <dsp:cNvPr id="0" name=""/>
        <dsp:cNvSpPr/>
      </dsp:nvSpPr>
      <dsp:spPr>
        <a:xfrm>
          <a:off x="3083604" y="4430442"/>
          <a:ext cx="2746361" cy="1373180"/>
        </a:xfrm>
        <a:prstGeom prst="roundRect">
          <a:avLst/>
        </a:prstGeom>
        <a:solidFill>
          <a:schemeClr val="accent6">
            <a:shade val="50000"/>
            <a:hueOff val="-474529"/>
            <a:satOff val="-21694"/>
            <a:lumOff val="37096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 err="1">
              <a:latin typeface="Times New Roman" pitchFamily="18" charset="0"/>
              <a:cs typeface="Times New Roman" pitchFamily="18" charset="0"/>
            </a:rPr>
            <a:t>Bảo</a:t>
          </a:r>
          <a:r>
            <a:rPr lang="en-US" sz="36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600" kern="1200" dirty="0" err="1">
              <a:latin typeface="Times New Roman" pitchFamily="18" charset="0"/>
              <a:cs typeface="Times New Roman" pitchFamily="18" charset="0"/>
            </a:rPr>
            <a:t>vệ</a:t>
          </a:r>
          <a:endParaRPr lang="en-US" sz="36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3150637" y="4497475"/>
        <a:ext cx="2612295" cy="1239114"/>
      </dsp:txXfrm>
    </dsp:sp>
    <dsp:sp modelId="{F0717173-ECC9-4E38-B7ED-4BD98770DF51}">
      <dsp:nvSpPr>
        <dsp:cNvPr id="0" name=""/>
        <dsp:cNvSpPr/>
      </dsp:nvSpPr>
      <dsp:spPr>
        <a:xfrm>
          <a:off x="2194273" y="1693362"/>
          <a:ext cx="2746361" cy="1373180"/>
        </a:xfrm>
        <a:prstGeom prst="roundRect">
          <a:avLst/>
        </a:prstGeom>
        <a:solidFill>
          <a:schemeClr val="accent6">
            <a:shade val="50000"/>
            <a:hueOff val="-237264"/>
            <a:satOff val="-10847"/>
            <a:lumOff val="18548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 err="1">
              <a:latin typeface="Times New Roman" pitchFamily="18" charset="0"/>
              <a:cs typeface="Times New Roman" pitchFamily="18" charset="0"/>
            </a:rPr>
            <a:t>Người</a:t>
          </a:r>
          <a:r>
            <a:rPr lang="en-US" sz="36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600" kern="1200" dirty="0" err="1">
              <a:latin typeface="Times New Roman" pitchFamily="18" charset="0"/>
              <a:cs typeface="Times New Roman" pitchFamily="18" charset="0"/>
            </a:rPr>
            <a:t>quét</a:t>
          </a:r>
          <a:r>
            <a:rPr lang="en-US" sz="3600" kern="1200" dirty="0">
              <a:latin typeface="Times New Roman" pitchFamily="18" charset="0"/>
              <a:cs typeface="Times New Roman" pitchFamily="18" charset="0"/>
            </a:rPr>
            <a:t> </a:t>
          </a:r>
          <a:r>
            <a:rPr lang="en-US" sz="3600" kern="1200" dirty="0" err="1">
              <a:latin typeface="Times New Roman" pitchFamily="18" charset="0"/>
              <a:cs typeface="Times New Roman" pitchFamily="18" charset="0"/>
            </a:rPr>
            <a:t>dọn</a:t>
          </a:r>
          <a:endParaRPr lang="en-US" sz="36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261306" y="1760395"/>
        <a:ext cx="2612295" cy="123911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EFC4CF-9D64-CD4D-99E3-BB9234B1B387}">
      <dsp:nvSpPr>
        <dsp:cNvPr id="0" name=""/>
        <dsp:cNvSpPr/>
      </dsp:nvSpPr>
      <dsp:spPr>
        <a:xfrm>
          <a:off x="5814166" y="524620"/>
          <a:ext cx="1974120" cy="302710"/>
        </a:xfrm>
        <a:custGeom>
          <a:avLst/>
          <a:gdLst/>
          <a:ahLst/>
          <a:cxnLst/>
          <a:rect l="0" t="0" r="0" b="0"/>
          <a:pathLst>
            <a:path>
              <a:moveTo>
                <a:pt x="1974120" y="0"/>
              </a:moveTo>
              <a:lnTo>
                <a:pt x="1974120" y="302710"/>
              </a:lnTo>
              <a:lnTo>
                <a:pt x="0" y="302710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B5EBAB8-9D8A-6F4B-939B-94467887D1FF}">
      <dsp:nvSpPr>
        <dsp:cNvPr id="0" name=""/>
        <dsp:cNvSpPr/>
      </dsp:nvSpPr>
      <dsp:spPr>
        <a:xfrm>
          <a:off x="3775098" y="1801328"/>
          <a:ext cx="902675" cy="375843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758434"/>
              </a:lnTo>
              <a:lnTo>
                <a:pt x="902675" y="3758434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F18EB7-CBAD-BC4A-A984-4B8D78B8DC0B}">
      <dsp:nvSpPr>
        <dsp:cNvPr id="0" name=""/>
        <dsp:cNvSpPr/>
      </dsp:nvSpPr>
      <dsp:spPr>
        <a:xfrm>
          <a:off x="3775098" y="1801328"/>
          <a:ext cx="863612" cy="30889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088973"/>
              </a:lnTo>
              <a:lnTo>
                <a:pt x="863612" y="3088973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BC809B0-656C-3D4B-936E-CB9B66D008BA}">
      <dsp:nvSpPr>
        <dsp:cNvPr id="0" name=""/>
        <dsp:cNvSpPr/>
      </dsp:nvSpPr>
      <dsp:spPr>
        <a:xfrm>
          <a:off x="3775098" y="1801328"/>
          <a:ext cx="686196" cy="21758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75873"/>
              </a:lnTo>
              <a:lnTo>
                <a:pt x="686196" y="2175873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835542-BBA0-7C4F-9CF2-074B68206E17}">
      <dsp:nvSpPr>
        <dsp:cNvPr id="0" name=""/>
        <dsp:cNvSpPr/>
      </dsp:nvSpPr>
      <dsp:spPr>
        <a:xfrm>
          <a:off x="3775098" y="1801328"/>
          <a:ext cx="804078" cy="13012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01202"/>
              </a:lnTo>
              <a:lnTo>
                <a:pt x="804078" y="1301202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EFADD8-4C13-8F4B-BFF4-6A569BA1A014}">
      <dsp:nvSpPr>
        <dsp:cNvPr id="0" name=""/>
        <dsp:cNvSpPr/>
      </dsp:nvSpPr>
      <dsp:spPr>
        <a:xfrm>
          <a:off x="3775098" y="1801328"/>
          <a:ext cx="830834" cy="54355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43557"/>
              </a:lnTo>
              <a:lnTo>
                <a:pt x="830834" y="543557"/>
              </a:lnTo>
            </a:path>
          </a:pathLst>
        </a:custGeom>
        <a:noFill/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EF8BE6-33BF-F54A-A434-D7DE5BEE2079}">
      <dsp:nvSpPr>
        <dsp:cNvPr id="0" name=""/>
        <dsp:cNvSpPr/>
      </dsp:nvSpPr>
      <dsp:spPr>
        <a:xfrm>
          <a:off x="6618575" y="524620"/>
          <a:ext cx="1169711" cy="752088"/>
        </a:xfrm>
        <a:custGeom>
          <a:avLst/>
          <a:gdLst/>
          <a:ahLst/>
          <a:cxnLst/>
          <a:rect l="0" t="0" r="0" b="0"/>
          <a:pathLst>
            <a:path>
              <a:moveTo>
                <a:pt x="1169711" y="0"/>
              </a:moveTo>
              <a:lnTo>
                <a:pt x="1169711" y="641918"/>
              </a:lnTo>
              <a:lnTo>
                <a:pt x="0" y="641918"/>
              </a:lnTo>
              <a:lnTo>
                <a:pt x="0" y="752088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ED179F-B4A8-A142-A0AA-5D6A6639685F}">
      <dsp:nvSpPr>
        <dsp:cNvPr id="0" name=""/>
        <dsp:cNvSpPr/>
      </dsp:nvSpPr>
      <dsp:spPr>
        <a:xfrm>
          <a:off x="4705016" y="1"/>
          <a:ext cx="6166541" cy="524619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ên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ạnh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a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ình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ọc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[bao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ồm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ầm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non/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ẫu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o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]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ần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uất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úc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iều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ất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sp:txBody>
      <dsp:txXfrm>
        <a:off x="4705016" y="1"/>
        <a:ext cx="6166541" cy="524619"/>
      </dsp:txXfrm>
    </dsp:sp>
    <dsp:sp modelId="{BA43B357-CCB4-AA4D-9811-90BC7D600313}">
      <dsp:nvSpPr>
        <dsp:cNvPr id="0" name=""/>
        <dsp:cNvSpPr/>
      </dsp:nvSpPr>
      <dsp:spPr>
        <a:xfrm>
          <a:off x="3064228" y="1276709"/>
          <a:ext cx="7108694" cy="524619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1. </a:t>
          </a:r>
          <a:r>
            <a:rPr lang="vi-VN" sz="1800" b="1" kern="12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Cảnh giác </a:t>
          </a:r>
          <a:r>
            <a:rPr lang="vi-VN" sz="1800" b="0" kern="12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– chú</a:t>
          </a:r>
          <a:r>
            <a:rPr lang="en-US" sz="1800" b="0" kern="12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 </a:t>
          </a:r>
          <a:r>
            <a:rPr lang="vi-VN" sz="1800" b="0" kern="12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ý đến </a:t>
          </a:r>
          <a:r>
            <a:rPr lang="en-US" sz="1800" b="0" kern="1200" dirty="0" err="1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tình</a:t>
          </a:r>
          <a:r>
            <a:rPr lang="en-US" sz="1800" b="0" kern="12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 </a:t>
          </a:r>
          <a:r>
            <a:rPr lang="en-US" sz="1800" b="0" kern="1200" dirty="0" err="1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trạng</a:t>
          </a:r>
          <a:r>
            <a:rPr lang="vi-VN" sz="1800" b="0" kern="12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 của trẻ em – </a:t>
          </a:r>
          <a:r>
            <a:rPr lang="en-US" sz="1800" b="0" kern="1200" dirty="0" err="1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trẻ</a:t>
          </a:r>
          <a:r>
            <a:rPr lang="en-US" sz="1800" b="0" kern="12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 </a:t>
          </a:r>
          <a:r>
            <a:rPr lang="en-US" sz="1800" b="0" kern="1200" dirty="0" err="1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có</a:t>
          </a:r>
          <a:r>
            <a:rPr lang="en-US" sz="1800" b="0" kern="12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 </a:t>
          </a:r>
          <a:r>
            <a:rPr lang="en-US" sz="1800" b="0" kern="1200" dirty="0" err="1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đang</a:t>
          </a:r>
          <a:r>
            <a:rPr lang="en-US" sz="1800" b="0" kern="12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 </a:t>
          </a:r>
          <a:r>
            <a:rPr lang="vi-VN" sz="1800" b="0" kern="1200" dirty="0">
              <a:solidFill>
                <a:prstClr val="black"/>
              </a:solidFill>
              <a:latin typeface="Times New Roman" pitchFamily="18" charset="0"/>
              <a:ea typeface="+mn-ea"/>
              <a:cs typeface="Times New Roman" pitchFamily="18" charset="0"/>
            </a:rPr>
            <a:t>được chăm sóc, an toàn và được bảo vệ.</a:t>
          </a:r>
          <a:endParaRPr lang="en-GB" sz="1800" b="0" kern="1200" dirty="0">
            <a:solidFill>
              <a:prstClr val="black"/>
            </a:solidFill>
            <a:latin typeface="Times New Roman" pitchFamily="18" charset="0"/>
            <a:ea typeface="+mn-ea"/>
            <a:cs typeface="Times New Roman" pitchFamily="18" charset="0"/>
          </a:endParaRPr>
        </a:p>
      </dsp:txBody>
      <dsp:txXfrm>
        <a:off x="3064228" y="1276709"/>
        <a:ext cx="7108694" cy="524619"/>
      </dsp:txXfrm>
    </dsp:sp>
    <dsp:sp modelId="{AA9CB024-A06E-414E-9E2D-2F27C43A349A}">
      <dsp:nvSpPr>
        <dsp:cNvPr id="0" name=""/>
        <dsp:cNvSpPr/>
      </dsp:nvSpPr>
      <dsp:spPr>
        <a:xfrm>
          <a:off x="4605932" y="2082576"/>
          <a:ext cx="7187460" cy="524619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2. </a:t>
          </a:r>
          <a:r>
            <a:rPr lang="en-GB" sz="1800" b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ân</a:t>
          </a:r>
          <a:r>
            <a:rPr lang="en-GB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b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ắc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–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u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ập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ông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tin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h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uyên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hiệp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ù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ánh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ông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tin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ể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yết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ịnh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em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ại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ào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ề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sp:txBody>
      <dsp:txXfrm>
        <a:off x="4605932" y="2082576"/>
        <a:ext cx="7187460" cy="524619"/>
      </dsp:txXfrm>
    </dsp:sp>
    <dsp:sp modelId="{1DFD96A8-D936-154A-BBFB-5CC20F5E9969}">
      <dsp:nvSpPr>
        <dsp:cNvPr id="0" name=""/>
        <dsp:cNvSpPr/>
      </dsp:nvSpPr>
      <dsp:spPr>
        <a:xfrm>
          <a:off x="4579176" y="2840221"/>
          <a:ext cx="6418925" cy="524619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3. </a:t>
          </a:r>
          <a:r>
            <a:rPr lang="en-GB" sz="1800" b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ản</a:t>
          </a:r>
          <a:r>
            <a:rPr lang="en-GB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b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ồi</a:t>
          </a:r>
          <a:r>
            <a:rPr lang="en-GB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–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ếu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ại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ản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ồi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ông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qua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ối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n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ộ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uyên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ách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Ủy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Ban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ân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ân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sp:txBody>
      <dsp:txXfrm>
        <a:off x="4579176" y="2840221"/>
        <a:ext cx="6418925" cy="524619"/>
      </dsp:txXfrm>
    </dsp:sp>
    <dsp:sp modelId="{98E39E23-BB3A-434E-AF35-540047101BD2}">
      <dsp:nvSpPr>
        <dsp:cNvPr id="0" name=""/>
        <dsp:cNvSpPr/>
      </dsp:nvSpPr>
      <dsp:spPr>
        <a:xfrm>
          <a:off x="4461294" y="3566750"/>
          <a:ext cx="6816722" cy="820903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4. </a:t>
          </a:r>
          <a:r>
            <a:rPr lang="en-GB" sz="1800" b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GB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b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ác</a:t>
          </a:r>
          <a:r>
            <a:rPr lang="en-GB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–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ới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n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ộ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ệ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UBND,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m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ốc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ca,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ành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LĐTBXH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ười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uyên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ôn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ác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ong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ản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ý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ca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i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n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iết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.</a:t>
          </a:r>
        </a:p>
      </dsp:txBody>
      <dsp:txXfrm>
        <a:off x="4461294" y="3566750"/>
        <a:ext cx="6816722" cy="820903"/>
      </dsp:txXfrm>
    </dsp:sp>
    <dsp:sp modelId="{B7C8D921-A658-1F42-A3C5-F0232C787520}">
      <dsp:nvSpPr>
        <dsp:cNvPr id="0" name=""/>
        <dsp:cNvSpPr/>
      </dsp:nvSpPr>
      <dsp:spPr>
        <a:xfrm>
          <a:off x="4638710" y="4627992"/>
          <a:ext cx="5329081" cy="524619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5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 </a:t>
          </a:r>
          <a:r>
            <a:rPr lang="en-GB" sz="1800" b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ỗ</a:t>
          </a:r>
          <a:r>
            <a:rPr lang="en-GB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b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ợ</a:t>
          </a:r>
          <a:r>
            <a:rPr lang="en-GB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b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ề</a:t>
          </a:r>
          <a:r>
            <a:rPr lang="en-GB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b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o</a:t>
          </a:r>
          <a:r>
            <a:rPr lang="en-GB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b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c</a:t>
          </a:r>
          <a:r>
            <a:rPr lang="en-GB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–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ỗ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ợ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ảm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ận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o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ục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 </a:t>
          </a:r>
        </a:p>
      </dsp:txBody>
      <dsp:txXfrm>
        <a:off x="4638710" y="4627992"/>
        <a:ext cx="5329081" cy="524619"/>
      </dsp:txXfrm>
    </dsp:sp>
    <dsp:sp modelId="{D7710399-F45C-EC44-9C23-59F7D67E3F6A}">
      <dsp:nvSpPr>
        <dsp:cNvPr id="0" name=""/>
        <dsp:cNvSpPr/>
      </dsp:nvSpPr>
      <dsp:spPr>
        <a:xfrm>
          <a:off x="4677773" y="5297453"/>
          <a:ext cx="6130258" cy="524619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6. </a:t>
          </a:r>
          <a:r>
            <a:rPr lang="en-AU" sz="1800" b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m</a:t>
          </a:r>
          <a:r>
            <a:rPr lang="en-AU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b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át</a:t>
          </a:r>
          <a:r>
            <a:rPr lang="en-AU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AU" sz="1800" b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ỗ</a:t>
          </a:r>
          <a:r>
            <a:rPr lang="en-AU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b="1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ợ</a:t>
          </a:r>
          <a:r>
            <a:rPr lang="en-AU" sz="1800" b="1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– can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iệp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ậu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ịch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ụ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ể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ảm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uy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ì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iệc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ến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ục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ác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ịnh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uy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ơ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ẩn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AU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ấp</a:t>
          </a:r>
          <a:r>
            <a:rPr lang="en-AU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 </a:t>
          </a:r>
        </a:p>
      </dsp:txBody>
      <dsp:txXfrm>
        <a:off x="4677773" y="5297453"/>
        <a:ext cx="6130258" cy="524619"/>
      </dsp:txXfrm>
    </dsp:sp>
    <dsp:sp modelId="{FBA139FB-7981-5741-8C73-38720E1BEA08}">
      <dsp:nvSpPr>
        <dsp:cNvPr id="0" name=""/>
        <dsp:cNvSpPr/>
      </dsp:nvSpPr>
      <dsp:spPr>
        <a:xfrm>
          <a:off x="1" y="565021"/>
          <a:ext cx="5814165" cy="524619"/>
        </a:xfrm>
        <a:prstGeom prst="rect">
          <a:avLst/>
        </a:prstGeom>
        <a:solidFill>
          <a:srgbClr val="FFC000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ường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ọc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ôi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ắt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ôi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tai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hu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ận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quan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ại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/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o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uộc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ề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âm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ao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ãng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1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sz="1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 </a:t>
          </a:r>
        </a:p>
      </dsp:txBody>
      <dsp:txXfrm>
        <a:off x="1" y="565021"/>
        <a:ext cx="5814165" cy="524619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D91367-B4BF-4751-9C83-6EC5B72361E2}">
      <dsp:nvSpPr>
        <dsp:cNvPr id="0" name=""/>
        <dsp:cNvSpPr/>
      </dsp:nvSpPr>
      <dsp:spPr>
        <a:xfrm>
          <a:off x="0" y="409619"/>
          <a:ext cx="3774558" cy="226473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2600" b="1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ăng</a:t>
          </a:r>
          <a:r>
            <a:rPr lang="en-SG" sz="2600" b="1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b="1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lực</a:t>
          </a:r>
          <a:r>
            <a:rPr lang="en-SG" sz="2600" b="1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1</a:t>
          </a:r>
          <a:endParaRPr lang="en-AU" sz="2600" b="1" kern="1200" dirty="0">
            <a:solidFill>
              <a:schemeClr val="tx1"/>
            </a:solidFill>
            <a:effectLst/>
            <a:latin typeface="Times New Roman" pitchFamily="18" charset="0"/>
            <a:cs typeface="Times New Roman" pitchFamily="18" charset="0"/>
          </a:endParaRPr>
        </a:p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Cam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kết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đối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ới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sự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an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oàn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,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chăm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sóc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à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bảo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ệ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rẻ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em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.</a:t>
          </a:r>
          <a:endParaRPr lang="en-US" sz="26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0" y="409619"/>
        <a:ext cx="3774558" cy="2264734"/>
      </dsp:txXfrm>
    </dsp:sp>
    <dsp:sp modelId="{0724E453-1C1E-4307-BD57-2785A68A54B2}">
      <dsp:nvSpPr>
        <dsp:cNvPr id="0" name=""/>
        <dsp:cNvSpPr/>
      </dsp:nvSpPr>
      <dsp:spPr>
        <a:xfrm>
          <a:off x="4152013" y="409619"/>
          <a:ext cx="3774558" cy="2264734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2600" b="1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ăng</a:t>
          </a:r>
          <a:r>
            <a:rPr lang="en-SG" sz="2600" b="1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b="1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lực</a:t>
          </a:r>
          <a:r>
            <a:rPr lang="en-SG" sz="2600" b="1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2</a:t>
          </a:r>
          <a:endParaRPr lang="en-AU" sz="2600" b="1" kern="1200" dirty="0">
            <a:solidFill>
              <a:schemeClr val="tx1"/>
            </a:solidFill>
            <a:effectLst/>
            <a:latin typeface="Times New Roman" pitchFamily="18" charset="0"/>
            <a:cs typeface="Times New Roman" pitchFamily="18" charset="0"/>
          </a:endParaRPr>
        </a:p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Kiến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hức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ề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hu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cầu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chăm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sóc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, an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oàn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à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bảo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ệ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của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rẻ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em</a:t>
          </a:r>
          <a:endParaRPr lang="en-US" sz="26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4152013" y="409619"/>
        <a:ext cx="3774558" cy="2264734"/>
      </dsp:txXfrm>
    </dsp:sp>
    <dsp:sp modelId="{B4CFE7B5-E3FF-41F0-B4E3-92AD1D7C4DE1}">
      <dsp:nvSpPr>
        <dsp:cNvPr id="0" name=""/>
        <dsp:cNvSpPr/>
      </dsp:nvSpPr>
      <dsp:spPr>
        <a:xfrm>
          <a:off x="8304027" y="409619"/>
          <a:ext cx="3774558" cy="2264734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2600" b="1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ăng</a:t>
          </a:r>
          <a:r>
            <a:rPr lang="en-SG" sz="2600" b="1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b="1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lực</a:t>
          </a:r>
          <a:r>
            <a:rPr lang="en-SG" sz="2600" b="1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3</a:t>
          </a:r>
        </a:p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Kiến</a:t>
          </a:r>
          <a:r>
            <a:rPr lang="en-US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US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hức</a:t>
          </a:r>
          <a:r>
            <a:rPr lang="en-US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US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ề</a:t>
          </a:r>
          <a:r>
            <a:rPr lang="en-US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US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xâm</a:t>
          </a:r>
          <a:r>
            <a:rPr lang="en-US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US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hại</a:t>
          </a:r>
          <a:r>
            <a:rPr lang="en-US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US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rẻ</a:t>
          </a:r>
          <a:r>
            <a:rPr lang="en-US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US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em</a:t>
          </a:r>
          <a:r>
            <a:rPr lang="en-US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– </a:t>
          </a:r>
          <a:r>
            <a:rPr lang="en-US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xâm</a:t>
          </a:r>
          <a:r>
            <a:rPr lang="en-US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US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hại</a:t>
          </a:r>
          <a:r>
            <a:rPr lang="en-US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US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à</a:t>
          </a:r>
          <a:r>
            <a:rPr lang="en-US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US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xao</a:t>
          </a:r>
          <a:r>
            <a:rPr lang="en-US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US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hãng</a:t>
          </a:r>
          <a:r>
            <a:rPr lang="en-US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.</a:t>
          </a:r>
          <a:endParaRPr lang="en-US" sz="26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8304027" y="409619"/>
        <a:ext cx="3774558" cy="2264734"/>
      </dsp:txXfrm>
    </dsp:sp>
    <dsp:sp modelId="{67000E23-F41F-4962-A920-C1741DBD80BE}">
      <dsp:nvSpPr>
        <dsp:cNvPr id="0" name=""/>
        <dsp:cNvSpPr/>
      </dsp:nvSpPr>
      <dsp:spPr>
        <a:xfrm>
          <a:off x="0" y="3051809"/>
          <a:ext cx="3774558" cy="226473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600" b="1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ăng</a:t>
          </a:r>
          <a:r>
            <a:rPr lang="en-AU" sz="2600" b="1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l</a:t>
          </a:r>
          <a:r>
            <a:rPr lang="en-US" sz="2600" b="1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ực</a:t>
          </a:r>
          <a:r>
            <a:rPr lang="en-US" sz="2600" b="1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4</a:t>
          </a:r>
          <a:endParaRPr lang="en-AU" sz="2600" b="1" kern="1200" dirty="0">
            <a:solidFill>
              <a:schemeClr val="tx1"/>
            </a:solidFill>
            <a:effectLst/>
            <a:latin typeface="Times New Roman" pitchFamily="18" charset="0"/>
            <a:cs typeface="Times New Roman" pitchFamily="18" charset="0"/>
          </a:endParaRPr>
        </a:p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Kiến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hức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à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hiểu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biết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ề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cách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hức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để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ố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cáo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rường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hợp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xâm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hại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rẻ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em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ới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gười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làm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CT BVTE.</a:t>
          </a:r>
          <a:endParaRPr lang="en-US" sz="26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0" y="3051809"/>
        <a:ext cx="3774558" cy="2264734"/>
      </dsp:txXfrm>
    </dsp:sp>
    <dsp:sp modelId="{A3471E58-14CE-49C1-A511-BACE32CC54A0}">
      <dsp:nvSpPr>
        <dsp:cNvPr id="0" name=""/>
        <dsp:cNvSpPr/>
      </dsp:nvSpPr>
      <dsp:spPr>
        <a:xfrm>
          <a:off x="4152013" y="3051809"/>
          <a:ext cx="3774558" cy="2264734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2600" b="1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ăng</a:t>
          </a:r>
          <a:r>
            <a:rPr lang="en-SG" sz="2600" b="1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b="1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lực</a:t>
          </a:r>
          <a:r>
            <a:rPr lang="en-SG" sz="2600" b="1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5</a:t>
          </a:r>
          <a:endParaRPr lang="en-AU" sz="2600" b="1" kern="1200" dirty="0">
            <a:solidFill>
              <a:schemeClr val="tx1"/>
            </a:solidFill>
            <a:effectLst/>
            <a:latin typeface="Times New Roman" pitchFamily="18" charset="0"/>
            <a:cs typeface="Times New Roman" pitchFamily="18" charset="0"/>
          </a:endParaRPr>
        </a:p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Kiến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hức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ề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iến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rình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dịch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ụ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BVTE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liên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ục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à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iệc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ra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quyết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định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đảm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bảo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ính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bảo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mật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hông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tin.</a:t>
          </a:r>
          <a:endParaRPr lang="en-US" sz="26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4152013" y="3051809"/>
        <a:ext cx="3774558" cy="2264734"/>
      </dsp:txXfrm>
    </dsp:sp>
    <dsp:sp modelId="{3E543BF9-487F-47BC-B462-0B619D905C09}">
      <dsp:nvSpPr>
        <dsp:cNvPr id="0" name=""/>
        <dsp:cNvSpPr/>
      </dsp:nvSpPr>
      <dsp:spPr>
        <a:xfrm>
          <a:off x="8304027" y="3051809"/>
          <a:ext cx="3774558" cy="226473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2600" b="1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ăng</a:t>
          </a:r>
          <a:r>
            <a:rPr lang="en-SG" sz="2600" b="1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b="1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lực</a:t>
          </a:r>
          <a:r>
            <a:rPr lang="en-SG" sz="2600" b="1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6</a:t>
          </a:r>
          <a:endParaRPr lang="en-AU" sz="2600" b="1" kern="1200" dirty="0">
            <a:solidFill>
              <a:schemeClr val="tx1"/>
            </a:solidFill>
            <a:effectLst/>
            <a:latin typeface="Times New Roman" pitchFamily="18" charset="0"/>
            <a:cs typeface="Times New Roman" pitchFamily="18" charset="0"/>
          </a:endParaRPr>
        </a:p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Hỗ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rợ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ề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mặt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hành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chính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và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các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guồn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lực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khác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cho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người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làm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CT BVTE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rực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 </a:t>
          </a:r>
          <a:r>
            <a:rPr lang="en-SG" sz="2600" kern="1200" dirty="0" err="1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tiếp</a:t>
          </a:r>
          <a:r>
            <a:rPr lang="en-SG" sz="2600" kern="1200" dirty="0"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rPr>
            <a:t>.</a:t>
          </a:r>
          <a:endParaRPr lang="en-US" sz="26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8304027" y="3051809"/>
        <a:ext cx="3774558" cy="2264734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E81860-79B3-DD49-BAE7-611C0E199D71}">
      <dsp:nvSpPr>
        <dsp:cNvPr id="0" name=""/>
        <dsp:cNvSpPr/>
      </dsp:nvSpPr>
      <dsp:spPr>
        <a:xfrm>
          <a:off x="5816668" y="934353"/>
          <a:ext cx="279331" cy="1223739"/>
        </a:xfrm>
        <a:custGeom>
          <a:avLst/>
          <a:gdLst/>
          <a:ahLst/>
          <a:cxnLst/>
          <a:rect l="0" t="0" r="0" b="0"/>
          <a:pathLst>
            <a:path>
              <a:moveTo>
                <a:pt x="279331" y="0"/>
              </a:moveTo>
              <a:lnTo>
                <a:pt x="279331" y="1223739"/>
              </a:lnTo>
              <a:lnTo>
                <a:pt x="0" y="1223739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78CC972-4FEE-1946-AC7A-F0AAF26B335D}">
      <dsp:nvSpPr>
        <dsp:cNvPr id="0" name=""/>
        <dsp:cNvSpPr/>
      </dsp:nvSpPr>
      <dsp:spPr>
        <a:xfrm>
          <a:off x="6096000" y="934353"/>
          <a:ext cx="3775820" cy="244747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68146"/>
              </a:lnTo>
              <a:lnTo>
                <a:pt x="3775820" y="2168146"/>
              </a:lnTo>
              <a:lnTo>
                <a:pt x="3775820" y="2447478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C64E9AA-6B5F-8942-B172-C0854D235754}">
      <dsp:nvSpPr>
        <dsp:cNvPr id="0" name=""/>
        <dsp:cNvSpPr/>
      </dsp:nvSpPr>
      <dsp:spPr>
        <a:xfrm>
          <a:off x="5508485" y="934353"/>
          <a:ext cx="587514" cy="2447478"/>
        </a:xfrm>
        <a:custGeom>
          <a:avLst/>
          <a:gdLst/>
          <a:ahLst/>
          <a:cxnLst/>
          <a:rect l="0" t="0" r="0" b="0"/>
          <a:pathLst>
            <a:path>
              <a:moveTo>
                <a:pt x="587514" y="0"/>
              </a:moveTo>
              <a:lnTo>
                <a:pt x="587514" y="2168146"/>
              </a:lnTo>
              <a:lnTo>
                <a:pt x="0" y="2168146"/>
              </a:lnTo>
              <a:lnTo>
                <a:pt x="0" y="2447478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D191177-C9EA-FF41-9594-32BC9601DCFB}">
      <dsp:nvSpPr>
        <dsp:cNvPr id="0" name=""/>
        <dsp:cNvSpPr/>
      </dsp:nvSpPr>
      <dsp:spPr>
        <a:xfrm>
          <a:off x="1732664" y="934353"/>
          <a:ext cx="4363335" cy="2447478"/>
        </a:xfrm>
        <a:custGeom>
          <a:avLst/>
          <a:gdLst/>
          <a:ahLst/>
          <a:cxnLst/>
          <a:rect l="0" t="0" r="0" b="0"/>
          <a:pathLst>
            <a:path>
              <a:moveTo>
                <a:pt x="4363335" y="0"/>
              </a:moveTo>
              <a:lnTo>
                <a:pt x="4363335" y="2168146"/>
              </a:lnTo>
              <a:lnTo>
                <a:pt x="0" y="2168146"/>
              </a:lnTo>
              <a:lnTo>
                <a:pt x="0" y="2447478"/>
              </a:lnTo>
            </a:path>
          </a:pathLst>
        </a:custGeom>
        <a:noFill/>
        <a:ln w="1587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048749-DF89-3F4F-8516-0D397626064D}">
      <dsp:nvSpPr>
        <dsp:cNvPr id="0" name=""/>
        <dsp:cNvSpPr/>
      </dsp:nvSpPr>
      <dsp:spPr>
        <a:xfrm>
          <a:off x="1836110" y="134"/>
          <a:ext cx="8519779" cy="934218"/>
        </a:xfrm>
        <a:prstGeom prst="rect">
          <a:avLst/>
        </a:prstGeom>
        <a:solidFill>
          <a:schemeClr val="accent4">
            <a:lumMod val="40000"/>
            <a:lumOff val="60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ất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ả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em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6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ơ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n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n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áp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ứng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ể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ảm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ảo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o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iển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(an </a:t>
          </a:r>
          <a:r>
            <a:rPr lang="en-GB" sz="28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inh</a:t>
          </a:r>
          <a:r>
            <a:rPr lang="en-GB" sz="28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)</a:t>
          </a:r>
        </a:p>
      </dsp:txBody>
      <dsp:txXfrm>
        <a:off x="1836110" y="134"/>
        <a:ext cx="8519779" cy="934218"/>
      </dsp:txXfrm>
    </dsp:sp>
    <dsp:sp modelId="{BD4D5285-33B2-2A47-B621-497A22E62051}">
      <dsp:nvSpPr>
        <dsp:cNvPr id="0" name=""/>
        <dsp:cNvSpPr/>
      </dsp:nvSpPr>
      <dsp:spPr>
        <a:xfrm>
          <a:off x="152524" y="3381831"/>
          <a:ext cx="3160280" cy="2619506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ố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iê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ệ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ự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iếp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áp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ứ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ố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an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i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-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ặ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biệ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iể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ươ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ai</a:t>
          </a:r>
          <a:endParaRPr lang="en-GB" sz="2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152524" y="3381831"/>
        <a:ext cx="3160280" cy="2619506"/>
      </dsp:txXfrm>
    </dsp:sp>
    <dsp:sp modelId="{E5BB6962-51A3-BC4F-A4F4-47C20CBB48DC}">
      <dsp:nvSpPr>
        <dsp:cNvPr id="0" name=""/>
        <dsp:cNvSpPr/>
      </dsp:nvSpPr>
      <dsp:spPr>
        <a:xfrm>
          <a:off x="3871468" y="3381831"/>
          <a:ext cx="3274034" cy="2413905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áp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ứ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ù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1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à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,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ẽ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ặp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ả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iề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uy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ơ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ổ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ạ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ới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ự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á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iể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sp:txBody>
      <dsp:txXfrm>
        <a:off x="3871468" y="3381831"/>
        <a:ext cx="3274034" cy="2413905"/>
      </dsp:txXfrm>
    </dsp:sp>
    <dsp:sp modelId="{9BEE256E-382A-994B-AE66-F0AA37293150}">
      <dsp:nvSpPr>
        <dsp:cNvPr id="0" name=""/>
        <dsp:cNvSpPr/>
      </dsp:nvSpPr>
      <dsp:spPr>
        <a:xfrm>
          <a:off x="7704166" y="3381831"/>
          <a:ext cx="4335309" cy="2360872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6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(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oặ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1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ố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)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ọ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â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ủa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dịc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vụ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BVTE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uyê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ghiệp</a:t>
          </a:r>
          <a:endParaRPr lang="en-GB" sz="2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á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</a:t>
          </a:r>
          <a:endParaRPr lang="en-GB" sz="2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ập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ế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oạc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ỗ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ợ</a:t>
          </a:r>
          <a:endParaRPr lang="en-GB" sz="2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R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oát</a:t>
          </a:r>
          <a:endParaRPr lang="en-GB" sz="2400" kern="12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7704166" y="3381831"/>
        <a:ext cx="4335309" cy="2360872"/>
      </dsp:txXfrm>
    </dsp:sp>
    <dsp:sp modelId="{5940E1C6-5FE1-7940-9A76-81BD39F523C6}">
      <dsp:nvSpPr>
        <dsp:cNvPr id="0" name=""/>
        <dsp:cNvSpPr/>
      </dsp:nvSpPr>
      <dsp:spPr>
        <a:xfrm>
          <a:off x="993220" y="1493016"/>
          <a:ext cx="4823448" cy="1330151"/>
        </a:xfrm>
        <a:prstGeom prst="rect">
          <a:avLst/>
        </a:prstGeom>
        <a:solidFill>
          <a:schemeClr val="bg1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6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u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là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nhữ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ọ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iể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ần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á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giá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ể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á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ịn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xe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trẻ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ó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đượ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hăm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sóc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một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cách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phù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hợp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en-GB" sz="2400" kern="1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không</a:t>
          </a:r>
          <a:r>
            <a:rPr lang="en-GB" sz="2400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.</a:t>
          </a:r>
        </a:p>
      </dsp:txBody>
      <dsp:txXfrm>
        <a:off x="993220" y="1493016"/>
        <a:ext cx="4823448" cy="13301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arrow5">
  <dgm:title val=""/>
  <dgm:desc val=""/>
  <dgm:catLst>
    <dgm:cat type="relationship" pri="6000"/>
    <dgm:cat type="process" pri="3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lte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0.1"/>
          <dgm:constr type="sibSp" refType="h" op="lte" fact="0.1"/>
          <dgm:constr type="diam" refType="w" refFor="ch" refPtType="node" op="equ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2"/>
          <dgm:constr type="sibSp" refType="h" op="lte" fact="0.1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3" axis="ch" ptType="node" func="cnt" op="equ" val="7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4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/>
          <dgm:constr type="sibSp" refType="h" op="lte" fact="0.1"/>
        </dgm:constrLst>
      </dgm:if>
      <dgm:if name="Name15" axis="ch" ptType="node" func="cnt" op="gte" val="9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else name="Name1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35"/>
        </dgm:constrLst>
      </dgm:else>
    </dgm:choose>
    <dgm:ruleLst/>
    <dgm:forEach name="Name17" axis="ch" ptType="node">
      <dgm:layoutNode name="arrow">
        <dgm:varLst>
          <dgm:bulletEnabled val="1"/>
        </dgm:varLst>
        <dgm:alg type="tx"/>
        <dgm:shape xmlns:r="http://schemas.openxmlformats.org/officeDocument/2006/relationships" type="down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5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6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7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8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9.xml><?xml version="1.0" encoding="utf-8"?>
<dgm:layoutDef xmlns:dgm="http://schemas.openxmlformats.org/drawingml/2006/diagram" xmlns:a="http://schemas.openxmlformats.org/drawingml/2006/main" uniqueId="urn:microsoft.com/office/officeart/2005/8/layout/arrow5">
  <dgm:title val=""/>
  <dgm:desc val=""/>
  <dgm:catLst>
    <dgm:cat type="relationship" pri="6000"/>
    <dgm:cat type="process" pri="3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lte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0.1"/>
          <dgm:constr type="sibSp" refType="h" op="lte" fact="0.1"/>
          <dgm:constr type="diam" refType="w" refFor="ch" refPtType="node" op="equ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2"/>
          <dgm:constr type="sibSp" refType="h" op="lte" fact="0.1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3" axis="ch" ptType="node" func="cnt" op="equ" val="7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4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/>
          <dgm:constr type="sibSp" refType="h" op="lte" fact="0.1"/>
        </dgm:constrLst>
      </dgm:if>
      <dgm:if name="Name15" axis="ch" ptType="node" func="cnt" op="gte" val="9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else name="Name1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35"/>
        </dgm:constrLst>
      </dgm:else>
    </dgm:choose>
    <dgm:ruleLst/>
    <dgm:forEach name="Name17" axis="ch" ptType="node">
      <dgm:layoutNode name="arrow">
        <dgm:varLst>
          <dgm:bulletEnabled val="1"/>
        </dgm:varLst>
        <dgm:alg type="tx"/>
        <dgm:shape xmlns:r="http://schemas.openxmlformats.org/officeDocument/2006/relationships" type="down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0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3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2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33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Đầu trang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Chỗ dành sẵn cho Ngày tháng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FBC918-14CF-4A38-A351-EFF7A6FE92A7}" type="datetimeFigureOut">
              <a:rPr lang="en-US" smtClean="0"/>
              <a:pPr/>
              <a:t>10/12/2020</a:t>
            </a:fld>
            <a:endParaRPr lang="en-US"/>
          </a:p>
        </p:txBody>
      </p:sp>
      <p:sp>
        <p:nvSpPr>
          <p:cNvPr id="4" name="Chỗ dành sẵn cho Hình ảnh của Bản chiế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Chỗ dành sẵn cho Ghi chú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/>
          </a:p>
        </p:txBody>
      </p:sp>
      <p:sp>
        <p:nvSpPr>
          <p:cNvPr id="6" name="Chỗ dành sẵn cho Chân trang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Chỗ dành sẵn cho Số hiệu Bản chiế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233A29-2C03-40AF-902A-1308ABCF8C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8712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Chỗ dành sẵn cho Hình ảnh của Bản chiếu 1">
            <a:extLst>
              <a:ext uri="{FF2B5EF4-FFF2-40B4-BE49-F238E27FC236}">
                <a16:creationId xmlns:a16="http://schemas.microsoft.com/office/drawing/2014/main" id="{0A0C41AC-F5E5-42C5-8D34-389295BCB77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Chỗ dành sẵn cho Ghi chú 2">
            <a:extLst>
              <a:ext uri="{FF2B5EF4-FFF2-40B4-BE49-F238E27FC236}">
                <a16:creationId xmlns:a16="http://schemas.microsoft.com/office/drawing/2014/main" id="{A3F6D3F2-2B71-4706-975B-3A51A207969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8196" name="Chỗ dành sẵn cho Số hiệu Bản chiếu 3">
            <a:extLst>
              <a:ext uri="{FF2B5EF4-FFF2-40B4-BE49-F238E27FC236}">
                <a16:creationId xmlns:a16="http://schemas.microsoft.com/office/drawing/2014/main" id="{C91FEB5C-4A5A-4904-BEF7-DD2716A1ECD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5E00D25-D21F-4F00-B4A8-FCC46A553C82}" type="slidenum">
              <a:rPr lang="en-US" altLang="en-US" smtClean="0"/>
              <a:pPr/>
              <a:t>2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7">
            <a:extLst>
              <a:ext uri="{FF2B5EF4-FFF2-40B4-BE49-F238E27FC236}">
                <a16:creationId xmlns:a16="http://schemas.microsoft.com/office/drawing/2014/main" id="{3685186E-D376-EB4E-AEA4-DE6753D146E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4DBB92BA-3066-DC4B-94A3-DB07A0D95D64}" type="slidenum">
              <a:rPr lang="en-US" altLang="en-US" sz="1200">
                <a:latin typeface="Arial" panose="020B0604020202020204" pitchFamily="34" charset="0"/>
                <a:ea typeface="ＭＳ Ｐゴシック" panose="020B0600070205080204" pitchFamily="34" charset="-128"/>
              </a:rPr>
              <a:pPr eaLnBrk="1" hangingPunct="1"/>
              <a:t>52</a:t>
            </a:fld>
            <a:endParaRPr lang="en-US" altLang="en-US" sz="1200" dirty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76803" name="Rectangle 2">
            <a:extLst>
              <a:ext uri="{FF2B5EF4-FFF2-40B4-BE49-F238E27FC236}">
                <a16:creationId xmlns:a16="http://schemas.microsoft.com/office/drawing/2014/main" id="{0E1F058A-01C7-D242-9E39-A70980A797E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6804" name="Rectangle 3">
            <a:extLst>
              <a:ext uri="{FF2B5EF4-FFF2-40B4-BE49-F238E27FC236}">
                <a16:creationId xmlns:a16="http://schemas.microsoft.com/office/drawing/2014/main" id="{6D06CD12-049C-B045-A5DC-D0DAF9D5274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896695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7">
            <a:extLst>
              <a:ext uri="{FF2B5EF4-FFF2-40B4-BE49-F238E27FC236}">
                <a16:creationId xmlns:a16="http://schemas.microsoft.com/office/drawing/2014/main" id="{4AB41568-88BB-2F49-9681-34AF62E5624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29212F39-A95F-2F47-8466-E1575942F0C0}" type="slidenum">
              <a:rPr lang="en-US" altLang="en-US" sz="1200">
                <a:latin typeface="Arial" panose="020B0604020202020204" pitchFamily="34" charset="0"/>
                <a:ea typeface="ＭＳ Ｐゴシック" panose="020B0600070205080204" pitchFamily="34" charset="-128"/>
              </a:rPr>
              <a:pPr eaLnBrk="1" hangingPunct="1"/>
              <a:t>53</a:t>
            </a:fld>
            <a:endParaRPr lang="en-US" altLang="en-US" sz="1200" dirty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78851" name="Rectangle 2">
            <a:extLst>
              <a:ext uri="{FF2B5EF4-FFF2-40B4-BE49-F238E27FC236}">
                <a16:creationId xmlns:a16="http://schemas.microsoft.com/office/drawing/2014/main" id="{B6112ED3-DA50-D343-9F53-B9E06DC9E92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8852" name="Rectangle 3">
            <a:extLst>
              <a:ext uri="{FF2B5EF4-FFF2-40B4-BE49-F238E27FC236}">
                <a16:creationId xmlns:a16="http://schemas.microsoft.com/office/drawing/2014/main" id="{20EE61DA-BFA8-274D-BD0A-9876D9D57EF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48943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7">
            <a:extLst>
              <a:ext uri="{FF2B5EF4-FFF2-40B4-BE49-F238E27FC236}">
                <a16:creationId xmlns:a16="http://schemas.microsoft.com/office/drawing/2014/main" id="{9359E2BF-5DF1-6F45-BC70-F7F915E7B92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215E3585-36E7-D645-B404-60D81C4B23EE}" type="slidenum">
              <a:rPr lang="en-US" altLang="en-US" sz="1200">
                <a:latin typeface="Arial" panose="020B0604020202020204" pitchFamily="34" charset="0"/>
                <a:ea typeface="ＭＳ Ｐゴシック" panose="020B0600070205080204" pitchFamily="34" charset="-128"/>
              </a:rPr>
              <a:pPr eaLnBrk="1" hangingPunct="1"/>
              <a:t>54</a:t>
            </a:fld>
            <a:endParaRPr lang="en-US" altLang="en-US" sz="1200" dirty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2947" name="Rectangle 2">
            <a:extLst>
              <a:ext uri="{FF2B5EF4-FFF2-40B4-BE49-F238E27FC236}">
                <a16:creationId xmlns:a16="http://schemas.microsoft.com/office/drawing/2014/main" id="{3EEAB5A0-4C83-D049-A01D-446FAB08831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8" name="Rectangle 3">
            <a:extLst>
              <a:ext uri="{FF2B5EF4-FFF2-40B4-BE49-F238E27FC236}">
                <a16:creationId xmlns:a16="http://schemas.microsoft.com/office/drawing/2014/main" id="{95F3BC7E-3BD5-8B40-9A7A-DF2CC61DE4E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26298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58AE7F-AABB-B54D-966C-623F6AF68803}" type="slidenum">
              <a:rPr lang="en-AU" smtClean="0"/>
              <a:pPr/>
              <a:t>60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5131944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Phân</a:t>
            </a:r>
            <a:r>
              <a:rPr lang="en-US" dirty="0"/>
              <a:t> </a:t>
            </a:r>
            <a:r>
              <a:rPr lang="en-US" dirty="0" err="1"/>
              <a:t>biệt</a:t>
            </a:r>
            <a:r>
              <a:rPr lang="en-US" dirty="0"/>
              <a:t>: </a:t>
            </a:r>
            <a:r>
              <a:rPr lang="en-US" dirty="0" err="1"/>
              <a:t>nghi</a:t>
            </a:r>
            <a:r>
              <a:rPr lang="en-US" dirty="0"/>
              <a:t> </a:t>
            </a:r>
            <a:r>
              <a:rPr lang="en-US" dirty="0" err="1"/>
              <a:t>ngại</a:t>
            </a:r>
            <a:r>
              <a:rPr lang="en-US" dirty="0"/>
              <a:t>, </a:t>
            </a:r>
            <a:r>
              <a:rPr lang="en-US" dirty="0" err="1"/>
              <a:t>quan</a:t>
            </a:r>
            <a:r>
              <a:rPr lang="en-US" dirty="0"/>
              <a:t> </a:t>
            </a:r>
            <a:r>
              <a:rPr lang="en-US" dirty="0" err="1"/>
              <a:t>ngại</a:t>
            </a:r>
            <a:r>
              <a:rPr lang="en-US" dirty="0"/>
              <a:t>, </a:t>
            </a:r>
            <a:r>
              <a:rPr lang="en-US" dirty="0" err="1"/>
              <a:t>cáo</a:t>
            </a:r>
            <a:r>
              <a:rPr lang="en-US" dirty="0"/>
              <a:t> </a:t>
            </a:r>
            <a:r>
              <a:rPr lang="en-US" dirty="0" err="1"/>
              <a:t>buộc</a:t>
            </a:r>
            <a:r>
              <a:rPr lang="en-US" dirty="0"/>
              <a:t>:</a:t>
            </a:r>
          </a:p>
          <a:p>
            <a:r>
              <a:rPr lang="en-US" dirty="0"/>
              <a:t>VD: 1 đ</a:t>
            </a:r>
            <a:r>
              <a:rPr lang="vi-VN" dirty="0"/>
              <a:t>ư</a:t>
            </a:r>
            <a:r>
              <a:rPr lang="en-US" dirty="0"/>
              <a:t>a </a:t>
            </a:r>
            <a:r>
              <a:rPr lang="en-US" dirty="0" err="1"/>
              <a:t>trẻ</a:t>
            </a:r>
            <a:r>
              <a:rPr lang="en-US" dirty="0"/>
              <a:t> </a:t>
            </a:r>
            <a:r>
              <a:rPr lang="en-US" dirty="0" err="1"/>
              <a:t>nói</a:t>
            </a:r>
            <a:r>
              <a:rPr lang="en-US" dirty="0"/>
              <a:t> </a:t>
            </a:r>
            <a:r>
              <a:rPr lang="en-US" dirty="0" err="1"/>
              <a:t>rằng</a:t>
            </a:r>
            <a:r>
              <a:rPr lang="en-US" dirty="0"/>
              <a:t> con </a:t>
            </a:r>
            <a:r>
              <a:rPr lang="en-US" dirty="0" err="1"/>
              <a:t>bị</a:t>
            </a:r>
            <a:r>
              <a:rPr lang="en-US" dirty="0"/>
              <a:t> </a:t>
            </a:r>
            <a:r>
              <a:rPr lang="en-US" dirty="0" err="1"/>
              <a:t>bố</a:t>
            </a:r>
            <a:r>
              <a:rPr lang="en-US" dirty="0"/>
              <a:t> </a:t>
            </a:r>
            <a:r>
              <a:rPr lang="en-US" dirty="0" err="1"/>
              <a:t>đấm</a:t>
            </a:r>
            <a:r>
              <a:rPr lang="en-US" dirty="0"/>
              <a:t> </a:t>
            </a:r>
            <a:r>
              <a:rPr lang="en-US" dirty="0" err="1"/>
              <a:t>vào</a:t>
            </a:r>
            <a:r>
              <a:rPr lang="en-US" dirty="0"/>
              <a:t> </a:t>
            </a:r>
            <a:r>
              <a:rPr lang="en-US" dirty="0" err="1"/>
              <a:t>mặt</a:t>
            </a:r>
            <a:r>
              <a:rPr lang="en-US" dirty="0"/>
              <a:t> – </a:t>
            </a:r>
            <a:r>
              <a:rPr lang="en-US" dirty="0" err="1"/>
              <a:t>đây</a:t>
            </a:r>
            <a:r>
              <a:rPr lang="en-US" dirty="0"/>
              <a:t> </a:t>
            </a:r>
            <a:r>
              <a:rPr lang="en-US" dirty="0" err="1"/>
              <a:t>là</a:t>
            </a:r>
            <a:r>
              <a:rPr lang="en-US" dirty="0"/>
              <a:t> </a:t>
            </a:r>
            <a:r>
              <a:rPr lang="en-US" dirty="0" err="1"/>
              <a:t>một</a:t>
            </a:r>
            <a:r>
              <a:rPr lang="en-US" dirty="0"/>
              <a:t> </a:t>
            </a:r>
            <a:r>
              <a:rPr lang="en-US" dirty="0" err="1"/>
              <a:t>sự</a:t>
            </a:r>
            <a:r>
              <a:rPr lang="en-US" dirty="0"/>
              <a:t> </a:t>
            </a:r>
            <a:r>
              <a:rPr lang="en-US" dirty="0" err="1"/>
              <a:t>việc</a:t>
            </a:r>
            <a:r>
              <a:rPr lang="en-US" dirty="0"/>
              <a:t> </a:t>
            </a:r>
            <a:r>
              <a:rPr lang="en-US" dirty="0" err="1"/>
              <a:t>rõ</a:t>
            </a:r>
            <a:r>
              <a:rPr lang="en-US" dirty="0"/>
              <a:t> </a:t>
            </a:r>
            <a:r>
              <a:rPr lang="en-US" dirty="0" err="1"/>
              <a:t>ràng</a:t>
            </a:r>
            <a:r>
              <a:rPr lang="en-US" dirty="0"/>
              <a:t>, </a:t>
            </a:r>
            <a:r>
              <a:rPr lang="en-US" dirty="0" err="1"/>
              <a:t>để</a:t>
            </a:r>
            <a:r>
              <a:rPr lang="en-US" dirty="0"/>
              <a:t> </a:t>
            </a:r>
            <a:r>
              <a:rPr lang="en-US" dirty="0" err="1"/>
              <a:t>lại</a:t>
            </a:r>
            <a:r>
              <a:rPr lang="en-US" dirty="0"/>
              <a:t> </a:t>
            </a:r>
            <a:r>
              <a:rPr lang="en-US" dirty="0" err="1"/>
              <a:t>bằng</a:t>
            </a:r>
            <a:r>
              <a:rPr lang="en-US" dirty="0"/>
              <a:t> </a:t>
            </a:r>
            <a:r>
              <a:rPr lang="en-US" dirty="0" err="1"/>
              <a:t>chứng</a:t>
            </a:r>
            <a:r>
              <a:rPr lang="en-US" dirty="0"/>
              <a:t>. – </a:t>
            </a:r>
            <a:r>
              <a:rPr lang="en-US" dirty="0" err="1"/>
              <a:t>Cáo</a:t>
            </a:r>
            <a:r>
              <a:rPr lang="en-US" dirty="0"/>
              <a:t> </a:t>
            </a:r>
            <a:r>
              <a:rPr lang="en-US" dirty="0" err="1"/>
              <a:t>buộc</a:t>
            </a:r>
            <a:r>
              <a:rPr lang="en-US" dirty="0"/>
              <a:t>. Nh</a:t>
            </a:r>
            <a:r>
              <a:rPr lang="vi-VN" dirty="0"/>
              <a:t>ư</a:t>
            </a:r>
            <a:r>
              <a:rPr lang="en-US" dirty="0"/>
              <a:t>ng </a:t>
            </a:r>
            <a:r>
              <a:rPr lang="en-US" dirty="0" err="1"/>
              <a:t>nếu</a:t>
            </a:r>
            <a:r>
              <a:rPr lang="en-US" dirty="0"/>
              <a:t> ko </a:t>
            </a:r>
            <a:r>
              <a:rPr lang="en-US" dirty="0" err="1"/>
              <a:t>đủ</a:t>
            </a:r>
            <a:r>
              <a:rPr lang="en-US" dirty="0"/>
              <a:t> </a:t>
            </a:r>
            <a:r>
              <a:rPr lang="en-US" dirty="0" err="1"/>
              <a:t>bằng</a:t>
            </a:r>
            <a:r>
              <a:rPr lang="en-US" dirty="0"/>
              <a:t> </a:t>
            </a:r>
            <a:r>
              <a:rPr lang="en-US" dirty="0" err="1"/>
              <a:t>chứng</a:t>
            </a:r>
            <a:r>
              <a:rPr lang="en-US" dirty="0"/>
              <a:t>, </a:t>
            </a:r>
            <a:r>
              <a:rPr lang="en-US" dirty="0" err="1"/>
              <a:t>nh</a:t>
            </a:r>
            <a:r>
              <a:rPr lang="vi-VN" dirty="0"/>
              <a:t>ư</a:t>
            </a:r>
            <a:r>
              <a:rPr lang="en-US" dirty="0"/>
              <a:t>ng </a:t>
            </a:r>
            <a:r>
              <a:rPr lang="en-US" dirty="0" err="1"/>
              <a:t>thông</a:t>
            </a:r>
            <a:r>
              <a:rPr lang="en-US" dirty="0"/>
              <a:t> qua </a:t>
            </a:r>
            <a:r>
              <a:rPr lang="en-US" dirty="0" err="1"/>
              <a:t>thái</a:t>
            </a:r>
            <a:r>
              <a:rPr lang="en-US" dirty="0"/>
              <a:t> </a:t>
            </a:r>
            <a:r>
              <a:rPr lang="en-US" dirty="0" err="1"/>
              <a:t>độ</a:t>
            </a:r>
            <a:r>
              <a:rPr lang="en-US" dirty="0"/>
              <a:t> </a:t>
            </a:r>
            <a:r>
              <a:rPr lang="en-US" dirty="0" err="1"/>
              <a:t>của</a:t>
            </a:r>
            <a:r>
              <a:rPr lang="en-US" dirty="0"/>
              <a:t> </a:t>
            </a:r>
            <a:r>
              <a:rPr lang="en-US" dirty="0" err="1"/>
              <a:t>trẻ</a:t>
            </a:r>
            <a:r>
              <a:rPr lang="en-US" dirty="0"/>
              <a:t>, </a:t>
            </a:r>
            <a:r>
              <a:rPr lang="en-US" dirty="0" err="1"/>
              <a:t>thì</a:t>
            </a:r>
            <a:r>
              <a:rPr lang="en-US" dirty="0"/>
              <a:t> </a:t>
            </a:r>
            <a:r>
              <a:rPr lang="en-US" dirty="0" err="1"/>
              <a:t>là</a:t>
            </a:r>
            <a:r>
              <a:rPr lang="en-US" dirty="0"/>
              <a:t> </a:t>
            </a:r>
            <a:r>
              <a:rPr lang="en-US" dirty="0" err="1"/>
              <a:t>nghi</a:t>
            </a:r>
            <a:r>
              <a:rPr lang="en-US" dirty="0"/>
              <a:t> </a:t>
            </a:r>
            <a:r>
              <a:rPr lang="en-US" dirty="0" err="1"/>
              <a:t>ngại</a:t>
            </a:r>
            <a:r>
              <a:rPr lang="en-US" dirty="0"/>
              <a:t>.</a:t>
            </a:r>
          </a:p>
          <a:p>
            <a:r>
              <a:rPr lang="en-US" dirty="0"/>
              <a:t>“</a:t>
            </a:r>
            <a:r>
              <a:rPr lang="en-US" dirty="0" err="1"/>
              <a:t>Nếu</a:t>
            </a:r>
            <a:r>
              <a:rPr lang="en-US" dirty="0"/>
              <a:t> </a:t>
            </a:r>
            <a:r>
              <a:rPr lang="en-US" dirty="0" err="1"/>
              <a:t>bạn</a:t>
            </a:r>
            <a:r>
              <a:rPr lang="en-US" dirty="0"/>
              <a:t> </a:t>
            </a:r>
            <a:r>
              <a:rPr lang="en-US" dirty="0" err="1"/>
              <a:t>cảm</a:t>
            </a:r>
            <a:r>
              <a:rPr lang="en-US" dirty="0"/>
              <a:t> </a:t>
            </a:r>
            <a:r>
              <a:rPr lang="en-US" dirty="0" err="1"/>
              <a:t>thây</a:t>
            </a:r>
            <a:r>
              <a:rPr lang="en-US" dirty="0"/>
              <a:t> lo </a:t>
            </a:r>
            <a:r>
              <a:rPr lang="en-US" dirty="0" err="1"/>
              <a:t>lắng</a:t>
            </a:r>
            <a:r>
              <a:rPr lang="en-US" dirty="0"/>
              <a:t> </a:t>
            </a:r>
            <a:r>
              <a:rPr lang="en-US" dirty="0" err="1"/>
              <a:t>thì</a:t>
            </a:r>
            <a:r>
              <a:rPr lang="en-US" dirty="0"/>
              <a:t> </a:t>
            </a:r>
            <a:r>
              <a:rPr lang="en-US" dirty="0" err="1"/>
              <a:t>hãy</a:t>
            </a:r>
            <a:r>
              <a:rPr lang="en-US" dirty="0"/>
              <a:t> </a:t>
            </a:r>
            <a:r>
              <a:rPr lang="en-US" dirty="0" err="1"/>
              <a:t>đến</a:t>
            </a:r>
            <a:r>
              <a:rPr lang="en-US" dirty="0"/>
              <a:t> </a:t>
            </a:r>
            <a:r>
              <a:rPr lang="en-US" dirty="0" err="1"/>
              <a:t>nói</a:t>
            </a:r>
            <a:r>
              <a:rPr lang="en-US" dirty="0"/>
              <a:t> </a:t>
            </a:r>
            <a:r>
              <a:rPr lang="en-US" dirty="0" err="1"/>
              <a:t>cho</a:t>
            </a:r>
            <a:r>
              <a:rPr lang="en-US" dirty="0"/>
              <a:t> </a:t>
            </a:r>
            <a:r>
              <a:rPr lang="en-US" dirty="0" err="1"/>
              <a:t>tôi</a:t>
            </a:r>
            <a:r>
              <a:rPr lang="en-US" dirty="0"/>
              <a:t> </a:t>
            </a:r>
            <a:r>
              <a:rPr lang="en-US" dirty="0" err="1"/>
              <a:t>biết</a:t>
            </a:r>
            <a:r>
              <a:rPr lang="en-US" dirty="0"/>
              <a:t>”. </a:t>
            </a:r>
            <a:r>
              <a:rPr lang="en-US" dirty="0" err="1"/>
              <a:t>Từ</a:t>
            </a:r>
            <a:r>
              <a:rPr lang="en-US" dirty="0"/>
              <a:t> lo </a:t>
            </a:r>
            <a:r>
              <a:rPr lang="en-US" dirty="0" err="1"/>
              <a:t>lắng</a:t>
            </a:r>
            <a:r>
              <a:rPr lang="en-US" dirty="0"/>
              <a:t> ở </a:t>
            </a:r>
            <a:r>
              <a:rPr lang="en-US" dirty="0" err="1"/>
              <a:t>đây</a:t>
            </a:r>
            <a:r>
              <a:rPr lang="en-US" dirty="0"/>
              <a:t> </a:t>
            </a:r>
            <a:r>
              <a:rPr lang="en-US" dirty="0" err="1"/>
              <a:t>chính</a:t>
            </a:r>
            <a:r>
              <a:rPr lang="en-US" dirty="0"/>
              <a:t> </a:t>
            </a:r>
            <a:r>
              <a:rPr lang="en-US" dirty="0" err="1"/>
              <a:t>là</a:t>
            </a:r>
            <a:r>
              <a:rPr lang="en-US" dirty="0"/>
              <a:t> “</a:t>
            </a:r>
            <a:r>
              <a:rPr lang="en-US" dirty="0" err="1"/>
              <a:t>quan</a:t>
            </a:r>
            <a:r>
              <a:rPr lang="en-US" dirty="0"/>
              <a:t> </a:t>
            </a:r>
            <a:r>
              <a:rPr lang="en-US" dirty="0" err="1"/>
              <a:t>ngại</a:t>
            </a:r>
            <a:r>
              <a:rPr lang="en-US" dirty="0"/>
              <a:t>”</a:t>
            </a:r>
          </a:p>
          <a:p>
            <a:r>
              <a:rPr lang="en-US" dirty="0"/>
              <a:t>VD: </a:t>
            </a:r>
            <a:r>
              <a:rPr lang="en-US" dirty="0" err="1"/>
              <a:t>Khi</a:t>
            </a:r>
            <a:r>
              <a:rPr lang="en-US" dirty="0"/>
              <a:t> </a:t>
            </a:r>
            <a:r>
              <a:rPr lang="en-US" dirty="0" err="1"/>
              <a:t>một</a:t>
            </a:r>
            <a:r>
              <a:rPr lang="en-US" dirty="0"/>
              <a:t> ng</a:t>
            </a:r>
            <a:r>
              <a:rPr lang="vi-VN" dirty="0"/>
              <a:t>ư</a:t>
            </a:r>
            <a:r>
              <a:rPr lang="en-US" dirty="0" err="1"/>
              <a:t>ời</a:t>
            </a:r>
            <a:r>
              <a:rPr lang="en-US" dirty="0"/>
              <a:t> hang </a:t>
            </a:r>
            <a:r>
              <a:rPr lang="en-US" dirty="0" err="1"/>
              <a:t>xóm</a:t>
            </a:r>
            <a:r>
              <a:rPr lang="en-US" dirty="0"/>
              <a:t> </a:t>
            </a:r>
            <a:r>
              <a:rPr lang="en-US" dirty="0" err="1"/>
              <a:t>đc</a:t>
            </a:r>
            <a:r>
              <a:rPr lang="en-US" dirty="0"/>
              <a:t> </a:t>
            </a:r>
            <a:r>
              <a:rPr lang="en-US" dirty="0" err="1"/>
              <a:t>phỏng</a:t>
            </a:r>
            <a:r>
              <a:rPr lang="en-US" dirty="0"/>
              <a:t> </a:t>
            </a:r>
            <a:r>
              <a:rPr lang="en-US" dirty="0" err="1"/>
              <a:t>vấn</a:t>
            </a:r>
            <a:r>
              <a:rPr lang="en-US" dirty="0"/>
              <a:t> </a:t>
            </a:r>
            <a:r>
              <a:rPr lang="en-US" dirty="0" err="1"/>
              <a:t>rằng</a:t>
            </a:r>
            <a:r>
              <a:rPr lang="en-US" dirty="0"/>
              <a:t> </a:t>
            </a:r>
            <a:r>
              <a:rPr lang="en-US" dirty="0" err="1"/>
              <a:t>tại</a:t>
            </a:r>
            <a:r>
              <a:rPr lang="en-US" dirty="0"/>
              <a:t> </a:t>
            </a:r>
            <a:r>
              <a:rPr lang="en-US" dirty="0" err="1"/>
              <a:t>sao</a:t>
            </a:r>
            <a:r>
              <a:rPr lang="en-US" dirty="0"/>
              <a:t> ko </a:t>
            </a:r>
            <a:r>
              <a:rPr lang="en-US" dirty="0" err="1"/>
              <a:t>báo</a:t>
            </a:r>
            <a:r>
              <a:rPr lang="en-US" dirty="0"/>
              <a:t> </a:t>
            </a:r>
            <a:r>
              <a:rPr lang="en-US" dirty="0" err="1"/>
              <a:t>cảnh</a:t>
            </a:r>
            <a:r>
              <a:rPr lang="en-US" dirty="0"/>
              <a:t> </a:t>
            </a:r>
            <a:r>
              <a:rPr lang="en-US" dirty="0" err="1"/>
              <a:t>sát</a:t>
            </a:r>
            <a:r>
              <a:rPr lang="en-US" dirty="0"/>
              <a:t> </a:t>
            </a:r>
            <a:r>
              <a:rPr lang="en-US" dirty="0" err="1"/>
              <a:t>khi</a:t>
            </a:r>
            <a:r>
              <a:rPr lang="en-US" dirty="0"/>
              <a:t> </a:t>
            </a:r>
            <a:r>
              <a:rPr lang="en-US" dirty="0" err="1"/>
              <a:t>nghe</a:t>
            </a:r>
            <a:r>
              <a:rPr lang="en-US" dirty="0"/>
              <a:t> </a:t>
            </a:r>
            <a:r>
              <a:rPr lang="en-US" dirty="0" err="1"/>
              <a:t>thấy</a:t>
            </a:r>
            <a:r>
              <a:rPr lang="en-US" dirty="0"/>
              <a:t> </a:t>
            </a:r>
            <a:r>
              <a:rPr lang="en-US" dirty="0" err="1"/>
              <a:t>tiếng</a:t>
            </a:r>
            <a:r>
              <a:rPr lang="en-US" dirty="0"/>
              <a:t> </a:t>
            </a:r>
            <a:r>
              <a:rPr lang="en-US" dirty="0" err="1"/>
              <a:t>hét</a:t>
            </a:r>
            <a:r>
              <a:rPr lang="en-US" dirty="0"/>
              <a:t> </a:t>
            </a:r>
            <a:r>
              <a:rPr lang="en-US" dirty="0" err="1"/>
              <a:t>của</a:t>
            </a:r>
            <a:r>
              <a:rPr lang="en-US" dirty="0"/>
              <a:t> </a:t>
            </a:r>
            <a:r>
              <a:rPr lang="en-US" dirty="0" err="1"/>
              <a:t>trẻ</a:t>
            </a:r>
            <a:r>
              <a:rPr lang="en-US" dirty="0"/>
              <a:t> </a:t>
            </a:r>
            <a:r>
              <a:rPr lang="en-US" dirty="0" err="1"/>
              <a:t>em</a:t>
            </a:r>
            <a:r>
              <a:rPr lang="en-US" dirty="0"/>
              <a:t>. </a:t>
            </a:r>
            <a:r>
              <a:rPr lang="en-US" dirty="0" err="1"/>
              <a:t>Họ</a:t>
            </a:r>
            <a:r>
              <a:rPr lang="en-US" dirty="0"/>
              <a:t> </a:t>
            </a:r>
            <a:r>
              <a:rPr lang="en-US" dirty="0" err="1"/>
              <a:t>trả</a:t>
            </a:r>
            <a:r>
              <a:rPr lang="en-US" dirty="0"/>
              <a:t> </a:t>
            </a:r>
            <a:r>
              <a:rPr lang="en-US" dirty="0" err="1"/>
              <a:t>lời</a:t>
            </a:r>
            <a:r>
              <a:rPr lang="en-US" dirty="0"/>
              <a:t>: </a:t>
            </a:r>
            <a:r>
              <a:rPr lang="en-US" dirty="0" err="1"/>
              <a:t>Tôi</a:t>
            </a:r>
            <a:r>
              <a:rPr lang="en-US" dirty="0"/>
              <a:t> </a:t>
            </a:r>
            <a:r>
              <a:rPr lang="en-US" dirty="0" err="1"/>
              <a:t>cảm</a:t>
            </a:r>
            <a:r>
              <a:rPr lang="en-US" dirty="0"/>
              <a:t> </a:t>
            </a:r>
            <a:r>
              <a:rPr lang="en-US" dirty="0" err="1"/>
              <a:t>thấy</a:t>
            </a:r>
            <a:r>
              <a:rPr lang="en-US" dirty="0"/>
              <a:t> </a:t>
            </a:r>
            <a:r>
              <a:rPr lang="en-US" dirty="0" err="1"/>
              <a:t>không</a:t>
            </a:r>
            <a:r>
              <a:rPr lang="en-US" dirty="0"/>
              <a:t> </a:t>
            </a:r>
            <a:r>
              <a:rPr lang="en-US" dirty="0" err="1"/>
              <a:t>đủ</a:t>
            </a:r>
            <a:r>
              <a:rPr lang="en-US" dirty="0"/>
              <a:t> </a:t>
            </a:r>
            <a:r>
              <a:rPr lang="en-US" dirty="0" err="1"/>
              <a:t>bằng</a:t>
            </a:r>
            <a:r>
              <a:rPr lang="en-US" dirty="0"/>
              <a:t> </a:t>
            </a:r>
            <a:r>
              <a:rPr lang="en-US" dirty="0" err="1"/>
              <a:t>chứng</a:t>
            </a:r>
            <a:r>
              <a:rPr lang="en-US" dirty="0"/>
              <a:t>.</a:t>
            </a:r>
          </a:p>
          <a:p>
            <a:r>
              <a:rPr lang="en-US" dirty="0" err="1"/>
              <a:t>Phải</a:t>
            </a:r>
            <a:r>
              <a:rPr lang="en-US" dirty="0"/>
              <a:t> </a:t>
            </a:r>
            <a:r>
              <a:rPr lang="en-US" dirty="0" err="1"/>
              <a:t>làm</a:t>
            </a:r>
            <a:r>
              <a:rPr lang="en-US" dirty="0"/>
              <a:t> </a:t>
            </a:r>
            <a:r>
              <a:rPr lang="en-US" dirty="0" err="1"/>
              <a:t>rõ</a:t>
            </a:r>
            <a:r>
              <a:rPr lang="en-US" dirty="0"/>
              <a:t> đ</a:t>
            </a:r>
            <a:r>
              <a:rPr lang="vi-VN" dirty="0"/>
              <a:t>ư</a:t>
            </a:r>
            <a:r>
              <a:rPr lang="en-US" dirty="0" err="1"/>
              <a:t>ợc</a:t>
            </a:r>
            <a:r>
              <a:rPr lang="en-US" dirty="0"/>
              <a:t> </a:t>
            </a:r>
            <a:r>
              <a:rPr lang="en-US" dirty="0" err="1"/>
              <a:t>việc</a:t>
            </a:r>
            <a:r>
              <a:rPr lang="en-US" dirty="0"/>
              <a:t>, ko </a:t>
            </a:r>
            <a:r>
              <a:rPr lang="en-US" dirty="0" err="1"/>
              <a:t>cần</a:t>
            </a:r>
            <a:r>
              <a:rPr lang="en-US" dirty="0"/>
              <a:t> </a:t>
            </a:r>
            <a:r>
              <a:rPr lang="en-US" dirty="0" err="1"/>
              <a:t>đủ</a:t>
            </a:r>
            <a:r>
              <a:rPr lang="en-US" dirty="0"/>
              <a:t> </a:t>
            </a:r>
            <a:r>
              <a:rPr lang="en-US" dirty="0" err="1"/>
              <a:t>bằng</a:t>
            </a:r>
            <a:r>
              <a:rPr lang="en-US" dirty="0"/>
              <a:t> </a:t>
            </a:r>
            <a:r>
              <a:rPr lang="en-US" dirty="0" err="1"/>
              <a:t>chứng</a:t>
            </a:r>
            <a:r>
              <a:rPr lang="en-US" dirty="0"/>
              <a:t> </a:t>
            </a:r>
            <a:r>
              <a:rPr lang="en-US" dirty="0" err="1"/>
              <a:t>mới</a:t>
            </a:r>
            <a:r>
              <a:rPr lang="en-US" dirty="0"/>
              <a:t> </a:t>
            </a:r>
            <a:r>
              <a:rPr lang="en-US" dirty="0" err="1"/>
              <a:t>báo</a:t>
            </a:r>
            <a:r>
              <a:rPr lang="en-US" dirty="0"/>
              <a:t>, </a:t>
            </a:r>
            <a:r>
              <a:rPr lang="en-US" dirty="0" err="1"/>
              <a:t>nhiệm</a:t>
            </a:r>
            <a:r>
              <a:rPr lang="en-US" dirty="0"/>
              <a:t> </a:t>
            </a:r>
            <a:r>
              <a:rPr lang="en-US" dirty="0" err="1"/>
              <a:t>vụ</a:t>
            </a:r>
            <a:r>
              <a:rPr lang="en-US" dirty="0"/>
              <a:t> </a:t>
            </a:r>
            <a:r>
              <a:rPr lang="en-US" dirty="0" err="1"/>
              <a:t>của</a:t>
            </a:r>
            <a:r>
              <a:rPr lang="en-US" dirty="0"/>
              <a:t> </a:t>
            </a:r>
            <a:r>
              <a:rPr lang="en-US" dirty="0" err="1"/>
              <a:t>bạn</a:t>
            </a:r>
            <a:r>
              <a:rPr lang="en-US" dirty="0"/>
              <a:t> ko </a:t>
            </a:r>
            <a:r>
              <a:rPr lang="en-US" dirty="0" err="1"/>
              <a:t>phải</a:t>
            </a:r>
            <a:r>
              <a:rPr lang="en-US" dirty="0"/>
              <a:t> </a:t>
            </a:r>
            <a:r>
              <a:rPr lang="en-US" dirty="0" err="1"/>
              <a:t>là</a:t>
            </a:r>
            <a:r>
              <a:rPr lang="en-US" dirty="0"/>
              <a:t> </a:t>
            </a:r>
            <a:r>
              <a:rPr lang="en-US" dirty="0" err="1"/>
              <a:t>tìm</a:t>
            </a:r>
            <a:r>
              <a:rPr lang="en-US" dirty="0"/>
              <a:t> </a:t>
            </a:r>
            <a:r>
              <a:rPr lang="en-US" dirty="0" err="1"/>
              <a:t>bằng</a:t>
            </a:r>
            <a:r>
              <a:rPr lang="en-US" dirty="0"/>
              <a:t> </a:t>
            </a:r>
            <a:r>
              <a:rPr lang="en-US" dirty="0" err="1"/>
              <a:t>chứng</a:t>
            </a:r>
            <a:r>
              <a:rPr lang="en-US" dirty="0"/>
              <a:t>, </a:t>
            </a:r>
            <a:r>
              <a:rPr lang="en-US" dirty="0" err="1"/>
              <a:t>mà</a:t>
            </a:r>
            <a:r>
              <a:rPr lang="en-US" dirty="0"/>
              <a:t> </a:t>
            </a:r>
            <a:r>
              <a:rPr lang="en-US" dirty="0" err="1"/>
              <a:t>hãy</a:t>
            </a:r>
            <a:r>
              <a:rPr lang="en-US" dirty="0"/>
              <a:t> </a:t>
            </a:r>
            <a:r>
              <a:rPr lang="en-US" dirty="0" err="1"/>
              <a:t>nói</a:t>
            </a:r>
            <a:r>
              <a:rPr lang="en-US" dirty="0"/>
              <a:t> ra </a:t>
            </a:r>
            <a:r>
              <a:rPr lang="en-US" dirty="0" err="1"/>
              <a:t>nếu</a:t>
            </a:r>
            <a:r>
              <a:rPr lang="en-US" dirty="0"/>
              <a:t> </a:t>
            </a:r>
            <a:r>
              <a:rPr lang="en-US" dirty="0" err="1"/>
              <a:t>có</a:t>
            </a:r>
            <a:r>
              <a:rPr lang="en-US" dirty="0"/>
              <a:t> </a:t>
            </a:r>
            <a:r>
              <a:rPr lang="en-US" dirty="0" err="1"/>
              <a:t>nghi</a:t>
            </a:r>
            <a:r>
              <a:rPr lang="en-US" dirty="0"/>
              <a:t> </a:t>
            </a:r>
            <a:r>
              <a:rPr lang="en-US" dirty="0" err="1"/>
              <a:t>ngại</a:t>
            </a:r>
            <a:r>
              <a:rPr lang="en-US"/>
              <a:t>.</a:t>
            </a:r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58AE7F-AABB-B54D-966C-623F6AF68803}" type="slidenum">
              <a:rPr lang="en-AU" smtClean="0"/>
              <a:pPr/>
              <a:t>68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3003809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Observing = What you are able to see, hear, touch, smell or feel about the child or children you have contact with, identify what is important and  then organise it in a logical way</a:t>
            </a:r>
          </a:p>
          <a:p>
            <a:r>
              <a:rPr lang="en-AU" dirty="0"/>
              <a:t>Assessing = Interpreting the information your senses have picked up. You are trying to figure out the answer to two question: -(1) Does the information suggest a child/children’s well-being may not be okay? (2) If it does, is it a concern or an allegation?</a:t>
            </a:r>
          </a:p>
          <a:p>
            <a:r>
              <a:rPr lang="en-AU" dirty="0"/>
              <a:t>Deciding = Now you have to decide, based on how you have assessed the information – do I need to tell someone [the Reporting Officer]? </a:t>
            </a:r>
          </a:p>
          <a:p>
            <a:r>
              <a:rPr lang="en-AU" dirty="0"/>
              <a:t>Reporting = This is about telling the Reporting Officer about what has happened and what your concerns are/allegation is</a:t>
            </a:r>
          </a:p>
          <a:p>
            <a:r>
              <a:rPr lang="en-AU" dirty="0"/>
              <a:t>Writing Up = Close to the time after you report to the RO write down in time order what happened</a:t>
            </a:r>
          </a:p>
          <a:p>
            <a:endParaRPr lang="en-AU" dirty="0"/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AU" smtClean="0"/>
              <a:pPr>
                <a:defRPr/>
              </a:pPr>
              <a:t>69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66311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AU" smtClean="0"/>
              <a:pPr>
                <a:defRPr/>
              </a:pPr>
              <a:t>86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9331030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58AE7F-AABB-B54D-966C-623F6AF68803}" type="slidenum">
              <a:rPr lang="en-AU" smtClean="0"/>
              <a:pPr/>
              <a:t>87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7741400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vi-V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233A29-2C03-40AF-902A-1308ABCF8C8B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BE3DF5-E1C7-7A4F-B71A-C9C9A8CB460E}" type="slidenum">
              <a:rPr lang="en-AU" smtClean="0"/>
              <a:pPr/>
              <a:t>16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3520704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baseline="0" dirty="0"/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100" b="1" i="0" u="none" strike="noStrike" kern="1200" dirty="0">
                <a:solidFill>
                  <a:srgbClr val="FFFFFF"/>
                </a:solidFill>
                <a:effectLst/>
                <a:latin typeface="Arial"/>
              </a:rPr>
              <a:t>Physical Care = </a:t>
            </a:r>
            <a:r>
              <a:rPr lang="en-US" sz="1100" b="0" i="0" u="none" strike="noStrike" kern="1200" dirty="0">
                <a:solidFill>
                  <a:srgbClr val="FFFFFF"/>
                </a:solidFill>
                <a:effectLst/>
                <a:latin typeface="Arial"/>
              </a:rPr>
              <a:t>When a child’s needs for food, shelter, clothing and medical care are provided.</a:t>
            </a:r>
            <a:endParaRPr lang="en-AU" sz="1600" b="0" i="0" u="none" strike="noStrike" dirty="0">
              <a:effectLst/>
              <a:latin typeface="Arial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100" b="1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Psychological Care </a:t>
            </a:r>
            <a:r>
              <a:rPr lang="en-US" sz="1100" b="0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=</a:t>
            </a:r>
            <a:r>
              <a:rPr lang="en-US" sz="1100" b="0" i="0" u="none" strike="noStrike" kern="1200" baseline="0" dirty="0">
                <a:solidFill>
                  <a:srgbClr val="000000"/>
                </a:solidFill>
                <a:effectLst/>
                <a:latin typeface="Arial"/>
              </a:rPr>
              <a:t> </a:t>
            </a:r>
            <a:r>
              <a:rPr lang="en-US" sz="1100" b="0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Care of child’s sense of who they are as a person (self-identity);</a:t>
            </a:r>
            <a:r>
              <a:rPr lang="en-US" sz="1100" b="0" i="0" u="none" strike="noStrike" kern="1200" baseline="0" dirty="0">
                <a:solidFill>
                  <a:srgbClr val="000000"/>
                </a:solidFill>
                <a:effectLst/>
                <a:latin typeface="Arial"/>
              </a:rPr>
              <a:t> what value they have as a person (self worth) and what they can do as a person (self-competency)</a:t>
            </a:r>
            <a:endParaRPr lang="en-AU" sz="1600" b="0" i="0" u="none" strike="noStrike" dirty="0">
              <a:effectLst/>
              <a:latin typeface="Arial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100" b="1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Emotional Care</a:t>
            </a:r>
            <a:r>
              <a:rPr lang="en-US" sz="1100" b="0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 = When a child’s need for love and comfort</a:t>
            </a:r>
            <a:r>
              <a:rPr lang="en-US" sz="1100" b="0" i="0" u="none" strike="noStrike" kern="1200" baseline="0" dirty="0">
                <a:solidFill>
                  <a:srgbClr val="000000"/>
                </a:solidFill>
                <a:effectLst/>
                <a:latin typeface="Arial"/>
              </a:rPr>
              <a:t> is responded to by them being the focus of an adult’s love, attention and nurturance (cuddles/reassurance)</a:t>
            </a:r>
            <a:endParaRPr lang="en-AU" sz="1600" b="0" i="0" u="none" strike="noStrike" dirty="0">
              <a:effectLst/>
              <a:latin typeface="Arial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100" b="1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Cognitive Care </a:t>
            </a:r>
            <a:r>
              <a:rPr lang="en-US" sz="1100" b="0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= When a child is able to learn new knowledge and skills appropriate to their developmental age. </a:t>
            </a:r>
            <a:endParaRPr lang="en-AU" sz="1600" b="0" i="0" u="none" strike="noStrike" dirty="0">
              <a:effectLst/>
              <a:latin typeface="Arial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100" b="1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Social Care</a:t>
            </a:r>
            <a:r>
              <a:rPr lang="en-US" sz="1100" b="0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 = When a child is</a:t>
            </a:r>
            <a:r>
              <a:rPr lang="en-US" sz="1100" b="0" i="0" u="none" strike="noStrike" kern="1200" baseline="0" dirty="0">
                <a:solidFill>
                  <a:srgbClr val="000000"/>
                </a:solidFill>
                <a:effectLst/>
                <a:latin typeface="Arial"/>
              </a:rPr>
              <a:t> able to develop a sense that they are a wanted and valued member of social units in society such as the family, school, peer group, neighbourhoods etc.</a:t>
            </a:r>
            <a:endParaRPr lang="en-AU" sz="1600" b="0" i="0" u="none" strike="noStrike" dirty="0">
              <a:effectLst/>
              <a:latin typeface="Arial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100" b="1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Moral Care</a:t>
            </a:r>
            <a:r>
              <a:rPr lang="en-US" sz="1100" b="0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 = When a child is able to begin to develop a sense and understanding of what is acceptable and unacceptable behaviour in relation to both themselves and to others</a:t>
            </a:r>
            <a:endParaRPr lang="en-AU" sz="1600" b="0" i="0" u="none" strike="noStrike" dirty="0">
              <a:effectLst/>
              <a:latin typeface="Arial"/>
            </a:endParaRP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100" b="1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Spiritual Care</a:t>
            </a:r>
            <a:r>
              <a:rPr lang="en-US" sz="1100" b="0" i="0" u="none" strike="noStrike" kern="1200" dirty="0">
                <a:solidFill>
                  <a:srgbClr val="000000"/>
                </a:solidFill>
                <a:effectLst/>
                <a:latin typeface="Arial"/>
              </a:rPr>
              <a:t> = When a child is able to develop a sense of themselves and others in the larger </a:t>
            </a:r>
            <a:r>
              <a:rPr lang="en-US" sz="1100" b="0" i="0" u="none" strike="noStrike" kern="1200" baseline="0" dirty="0">
                <a:solidFill>
                  <a:srgbClr val="000000"/>
                </a:solidFill>
                <a:effectLst/>
                <a:latin typeface="Arial"/>
              </a:rPr>
              <a:t> and of the spirituality which is part of human existence in the natural world.</a:t>
            </a:r>
          </a:p>
          <a:p>
            <a:pPr marL="0" marR="0" lvl="0" indent="0" algn="l" defTabSz="914400" rtl="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600" dirty="0">
                <a:solidFill>
                  <a:schemeClr val="bg1"/>
                </a:solidFill>
              </a:rPr>
              <a:t>The Seven Care Needs are the central reference points in how we work with children.</a:t>
            </a:r>
          </a:p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endParaRPr lang="en-AU" sz="1600" b="0" i="0" u="none" strike="noStrike" dirty="0">
              <a:effectLst/>
              <a:latin typeface="Arial"/>
            </a:endParaRPr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AU" smtClean="0"/>
              <a:pPr>
                <a:defRPr/>
              </a:pPr>
              <a:t>18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973802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x-none" dirty="0"/>
              <a:t>Có gây cho đứa trẻ tổn hại nào không tự người lớn.</a:t>
            </a:r>
          </a:p>
          <a:p>
            <a:r>
              <a:rPr lang="en-US" dirty="0"/>
              <a:t>V</a:t>
            </a:r>
            <a:r>
              <a:rPr lang="x-none" dirty="0"/>
              <a:t>d: bố mẹ nói con là đứa ngu, ước gì mẹ không đẻ ra con</a:t>
            </a:r>
          </a:p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BE3DF5-E1C7-7A4F-B71A-C9C9A8CB460E}" type="slidenum">
              <a:rPr lang="en-AU" smtClean="0"/>
              <a:pPr/>
              <a:t>19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396957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233A29-2C03-40AF-902A-1308ABCF8C8B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5697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233A29-2C03-40AF-902A-1308ABCF8C8B}" type="slidenum">
              <a:rPr lang="en-US" smtClean="0"/>
              <a:pPr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49324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hỗ dành sẵn cho Hình ảnh của Bản chiế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Chỗ dành sẵn cho Ghi chú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Yêu</a:t>
            </a:r>
            <a:r>
              <a:rPr lang="en-US" dirty="0"/>
              <a:t> </a:t>
            </a:r>
            <a:r>
              <a:rPr lang="en-US" dirty="0" err="1"/>
              <a:t>cầu</a:t>
            </a:r>
            <a:r>
              <a:rPr lang="en-US" dirty="0"/>
              <a:t> </a:t>
            </a:r>
            <a:r>
              <a:rPr lang="en-US" dirty="0" err="1"/>
              <a:t>nhóm</a:t>
            </a:r>
            <a:r>
              <a:rPr lang="en-US" dirty="0"/>
              <a:t> HV </a:t>
            </a:r>
            <a:r>
              <a:rPr lang="en-US" dirty="0" err="1"/>
              <a:t>thảo</a:t>
            </a:r>
            <a:r>
              <a:rPr lang="en-US" dirty="0"/>
              <a:t> </a:t>
            </a:r>
            <a:r>
              <a:rPr lang="en-US" dirty="0" err="1"/>
              <a:t>luận</a:t>
            </a:r>
            <a:r>
              <a:rPr lang="en-US" dirty="0"/>
              <a:t> </a:t>
            </a:r>
            <a:r>
              <a:rPr lang="en-US" dirty="0" err="1"/>
              <a:t>và</a:t>
            </a:r>
            <a:r>
              <a:rPr lang="en-US" dirty="0"/>
              <a:t> </a:t>
            </a:r>
            <a:r>
              <a:rPr lang="en-US" dirty="0" err="1"/>
              <a:t>ghi</a:t>
            </a:r>
            <a:r>
              <a:rPr lang="en-US" dirty="0"/>
              <a:t> </a:t>
            </a:r>
            <a:r>
              <a:rPr lang="en-US" dirty="0" err="1"/>
              <a:t>kết</a:t>
            </a:r>
            <a:r>
              <a:rPr lang="en-US" dirty="0"/>
              <a:t> </a:t>
            </a:r>
            <a:r>
              <a:rPr lang="en-US" dirty="0" err="1"/>
              <a:t>quả</a:t>
            </a:r>
            <a:r>
              <a:rPr lang="en-US" dirty="0"/>
              <a:t> </a:t>
            </a:r>
            <a:r>
              <a:rPr lang="en-US" dirty="0" err="1"/>
              <a:t>lên</a:t>
            </a:r>
            <a:r>
              <a:rPr lang="en-US" dirty="0"/>
              <a:t> </a:t>
            </a:r>
            <a:r>
              <a:rPr lang="en-US" dirty="0" err="1"/>
              <a:t>giấy</a:t>
            </a:r>
            <a:r>
              <a:rPr lang="en-US" dirty="0"/>
              <a:t> </a:t>
            </a:r>
            <a:r>
              <a:rPr lang="en-US" dirty="0" err="1"/>
              <a:t>Ao</a:t>
            </a:r>
            <a:r>
              <a:rPr lang="en-US" dirty="0"/>
              <a:t>. </a:t>
            </a:r>
            <a:r>
              <a:rPr lang="en-US" dirty="0" err="1"/>
              <a:t>Các</a:t>
            </a:r>
            <a:r>
              <a:rPr lang="en-US" dirty="0"/>
              <a:t> </a:t>
            </a:r>
            <a:r>
              <a:rPr lang="en-US" dirty="0" err="1"/>
              <a:t>nhóm</a:t>
            </a:r>
            <a:r>
              <a:rPr lang="en-US" dirty="0"/>
              <a:t> </a:t>
            </a:r>
            <a:r>
              <a:rPr lang="en-US" dirty="0" err="1"/>
              <a:t>trình</a:t>
            </a:r>
            <a:r>
              <a:rPr lang="en-US" dirty="0"/>
              <a:t> </a:t>
            </a:r>
            <a:r>
              <a:rPr lang="en-US" dirty="0" err="1"/>
              <a:t>bày</a:t>
            </a:r>
            <a:r>
              <a:rPr lang="en-US" dirty="0"/>
              <a:t> </a:t>
            </a:r>
            <a:r>
              <a:rPr lang="en-US" dirty="0" err="1"/>
              <a:t>và</a:t>
            </a:r>
            <a:r>
              <a:rPr lang="en-US" dirty="0"/>
              <a:t> </a:t>
            </a:r>
            <a:r>
              <a:rPr lang="en-US" dirty="0" err="1"/>
              <a:t>bổ</a:t>
            </a:r>
            <a:r>
              <a:rPr lang="en-US" dirty="0"/>
              <a:t> sung. GV </a:t>
            </a:r>
            <a:r>
              <a:rPr lang="en-US" dirty="0" err="1"/>
              <a:t>kết</a:t>
            </a:r>
            <a:r>
              <a:rPr lang="en-US" dirty="0"/>
              <a:t> </a:t>
            </a:r>
            <a:r>
              <a:rPr lang="en-US" dirty="0" err="1"/>
              <a:t>luận</a:t>
            </a:r>
            <a:r>
              <a:rPr lang="en-US" dirty="0"/>
              <a:t>.</a:t>
            </a:r>
          </a:p>
        </p:txBody>
      </p:sp>
      <p:sp>
        <p:nvSpPr>
          <p:cNvPr id="4" name="Chỗ dành sẵn cho Số hiệu Bản chiế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233A29-2C03-40AF-902A-1308ABCF8C8B}" type="slidenum">
              <a:rPr lang="en-US" smtClean="0"/>
              <a:pPr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79781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FF35E95-183C-7245-8CCE-E7FAB4DC187B}" type="slidenum">
              <a:rPr lang="en-US">
                <a:ea typeface="ＭＳ Ｐゴシック" charset="-128"/>
                <a:cs typeface="ＭＳ Ｐゴシック" charset="-128"/>
              </a:rPr>
              <a:pPr/>
              <a:t>44</a:t>
            </a:fld>
            <a:endParaRPr lang="en-US" dirty="0">
              <a:ea typeface="ＭＳ Ｐゴシック" charset="-128"/>
              <a:cs typeface="ＭＳ Ｐゴシック" charset="-128"/>
            </a:endParaRPr>
          </a:p>
        </p:txBody>
      </p:sp>
      <p:sp>
        <p:nvSpPr>
          <p:cNvPr id="655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55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>
              <a:spcBef>
                <a:spcPct val="0"/>
              </a:spcBef>
            </a:pPr>
            <a:endParaRPr lang="en-US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9513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êu đề Bản chiế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Title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012" y="1300785"/>
            <a:ext cx="8689976" cy="2509213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0"/>
            <a:ext cx="8689976" cy="1371599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vi-VN"/>
              <a:t>Bấm để chỉnh sửa kiểu tiêu đề phụ của Bản cái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Ảnh Toàn cảnh cùng với Chú thí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4" y="4289374"/>
            <a:ext cx="10364432" cy="81161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84744" y="698261"/>
            <a:ext cx="9822532" cy="3214136"/>
          </a:xfrm>
          <a:prstGeom prst="roundRect">
            <a:avLst>
              <a:gd name="adj" fmla="val 4944"/>
            </a:avLst>
          </a:prstGeom>
          <a:noFill/>
          <a:ln w="82550" cap="sq">
            <a:solidFill>
              <a:schemeClr val="bg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vi-VN"/>
              <a:t>Bấm biểu tượng để thêm hình ảnh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5108728"/>
            <a:ext cx="10364452" cy="682472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1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êu đề và Chú thí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609599"/>
            <a:ext cx="10364452" cy="3427245"/>
          </a:xfrm>
        </p:spPr>
        <p:txBody>
          <a:bodyPr anchor="ctr"/>
          <a:lstStyle>
            <a:lvl1pPr algn="ctr">
              <a:defRPr sz="3200"/>
            </a:lvl1pPr>
          </a:lstStyle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204821"/>
            <a:ext cx="10364452" cy="1586380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1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ích dẫn cùng với Chú thí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610032"/>
            <a:ext cx="8752299" cy="59478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4372796"/>
            <a:ext cx="10364452" cy="142105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1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1001488" y="75416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557558" y="29935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nh Thiế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2138721"/>
            <a:ext cx="10364452" cy="2511835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662335"/>
            <a:ext cx="10364452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1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ộ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74" y="609600"/>
            <a:ext cx="10364452" cy="1605094"/>
          </a:xfrm>
        </p:spPr>
        <p:txBody>
          <a:bodyPr/>
          <a:lstStyle/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74" y="2367093"/>
            <a:ext cx="3298976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74" y="2943355"/>
            <a:ext cx="3298976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52389" y="2367093"/>
            <a:ext cx="329152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1348" y="2943355"/>
            <a:ext cx="3303351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2367093"/>
            <a:ext cx="33049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73298" y="2943355"/>
            <a:ext cx="3304928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12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ột Hình ản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74" y="610772"/>
            <a:ext cx="10364452" cy="1603922"/>
          </a:xfrm>
        </p:spPr>
        <p:txBody>
          <a:bodyPr/>
          <a:lstStyle/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74" y="4204820"/>
            <a:ext cx="3296409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913774" y="2367093"/>
            <a:ext cx="3296409" cy="1524000"/>
          </a:xfrm>
          <a:prstGeom prst="roundRect">
            <a:avLst>
              <a:gd name="adj" fmla="val 9363"/>
            </a:avLst>
          </a:prstGeom>
          <a:noFill/>
          <a:ln w="82550" cap="sq">
            <a:solidFill>
              <a:schemeClr val="bg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vi-VN"/>
              <a:t>Bấm biểu tượng để thêm hình ảnh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74" y="4781082"/>
            <a:ext cx="3296409" cy="101011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59" y="4204820"/>
            <a:ext cx="33018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41348" y="2367093"/>
            <a:ext cx="3303352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chemeClr val="bg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vi-VN"/>
              <a:t>Bấm biểu tượng để thêm hình ảnh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348" y="4781080"/>
            <a:ext cx="3303352" cy="101011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4204820"/>
            <a:ext cx="330068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973298" y="2367093"/>
            <a:ext cx="3304928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chemeClr val="bg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vi-VN"/>
              <a:t>Bấm biểu tượng để thêm hình ảnh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73173" y="4781078"/>
            <a:ext cx="3305053" cy="1010121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12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êu đề và Văn bản Dọ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11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2367093"/>
            <a:ext cx="10364452" cy="3424107"/>
          </a:xfrm>
        </p:spPr>
        <p:txBody>
          <a:bodyPr vert="eaVert"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êu đề Dọc và Văn bả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609601"/>
            <a:ext cx="2553326" cy="518159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8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609601"/>
            <a:ext cx="7658724" cy="5181599"/>
          </a:xfrm>
        </p:spPr>
        <p:txBody>
          <a:bodyPr vert="eaVert"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êu đề và Nội d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D8DE2049-69CB-43C6-BBB4-C0AFAB4CB5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/>
              <a:t>Bấm để sửa kiểu tiêu đề Bản cái</a:t>
            </a: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B04FCCFB-C7D2-4FCA-B83C-062610D84E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5BE530E6-56EA-458C-ADAD-A0E360B6B9EC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vi-VN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68FB4466-869F-4736-85D3-7FC01C7F821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vi-VN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8E60BF29-7A70-4F7A-B836-84A16F7C1E6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E91D7E-10A1-4321-84CC-5A5A5742E972}" type="slidenum">
              <a:rPr lang="es-ES" altLang="vi-VN"/>
              <a:pPr>
                <a:defRPr/>
              </a:pPr>
              <a:t>‹#›</a:t>
            </a:fld>
            <a:endParaRPr lang="es-ES" altLang="vi-VN"/>
          </a:p>
        </p:txBody>
      </p:sp>
    </p:spTree>
    <p:extLst>
      <p:ext uri="{BB962C8B-B14F-4D97-AF65-F5344CB8AC3E}">
        <p14:creationId xmlns:p14="http://schemas.microsoft.com/office/powerpoint/2010/main" val="26954879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D62E30-ECA6-8442-887F-F19894435B51}" type="datetime1">
              <a:rPr lang="en-AU" smtClean="0"/>
              <a:pPr/>
              <a:t>10/1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487680" y="1600200"/>
            <a:ext cx="5388864" cy="4526280"/>
          </a:xfrm>
        </p:spPr>
        <p:txBody>
          <a:bodyPr/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6113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êu đề và Nội d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10363826" cy="3424107"/>
          </a:xfrm>
        </p:spPr>
        <p:txBody>
          <a:bodyPr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292100"/>
            <a:ext cx="10972800" cy="5727700"/>
          </a:xfrm>
        </p:spPr>
        <p:txBody>
          <a:bodyPr/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E3D4884-C1A2-AC43-9E54-640D994A84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A9BE712-7318-094A-AB63-CE847A357A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7E5F59-13AC-594E-AC08-2CBF25789C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fld id="{ACD596DE-98CA-F14D-B849-F7F67EBC32A4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866866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Đầu trang của Phầ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828563"/>
            <a:ext cx="10351752" cy="2736819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74" y="3657457"/>
            <a:ext cx="10351752" cy="1368183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i Nội d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</p:spPr>
        <p:txBody>
          <a:bodyPr/>
          <a:lstStyle/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5106026" cy="3424107"/>
          </a:xfrm>
        </p:spPr>
        <p:txBody>
          <a:bodyPr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4"/>
          </p:nvPr>
        </p:nvSpPr>
        <p:spPr>
          <a:xfrm>
            <a:off x="6172200" y="2367092"/>
            <a:ext cx="5105400" cy="3424107"/>
          </a:xfrm>
        </p:spPr>
        <p:txBody>
          <a:bodyPr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1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hép so sán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</p:spPr>
        <p:txBody>
          <a:bodyPr/>
          <a:lstStyle/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6328" y="2371018"/>
            <a:ext cx="4873474" cy="679994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913774" y="3051012"/>
            <a:ext cx="5106027" cy="2740187"/>
          </a:xfrm>
        </p:spPr>
        <p:txBody>
          <a:bodyPr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96423" y="2371018"/>
            <a:ext cx="4881804" cy="679994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4"/>
          </p:nvPr>
        </p:nvSpPr>
        <p:spPr>
          <a:xfrm>
            <a:off x="6172200" y="3051012"/>
            <a:ext cx="5105401" cy="2740187"/>
          </a:xfrm>
        </p:spPr>
        <p:txBody>
          <a:bodyPr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12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hỉ Tiêu đê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12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rố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12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Nội dung với Chú thí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609600"/>
            <a:ext cx="3935688" cy="2023252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3"/>
          </p:nvPr>
        </p:nvSpPr>
        <p:spPr>
          <a:xfrm>
            <a:off x="5078062" y="609600"/>
            <a:ext cx="6200163" cy="5181599"/>
          </a:xfrm>
        </p:spPr>
        <p:txBody>
          <a:bodyPr/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2632852"/>
            <a:ext cx="3935689" cy="3158348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1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̉nh với Chú thí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609600"/>
            <a:ext cx="5934969" cy="2023254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24803" y="609601"/>
            <a:ext cx="3255358" cy="5181600"/>
          </a:xfrm>
          <a:prstGeom prst="roundRect">
            <a:avLst>
              <a:gd name="adj" fmla="val 4943"/>
            </a:avLst>
          </a:prstGeom>
          <a:noFill/>
          <a:ln w="82550" cap="sq">
            <a:solidFill>
              <a:schemeClr val="bg2">
                <a:lumMod val="60000"/>
                <a:lumOff val="40000"/>
              </a:schemeClr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vi-VN"/>
              <a:t>Bấm biểu tượng để thêm hình ảnh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2632852"/>
            <a:ext cx="5934949" cy="3158347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vi-VN"/>
              <a:t>Bấm để chỉnh sửa kiểu văn bản của Bản cái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pPr/>
              <a:t>10/1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vi-VN"/>
              <a:t>Bấm để sửa kiểu tiêu đề Bản cái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75" y="2367093"/>
            <a:ext cx="10364452" cy="34241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vi-VN"/>
              <a:t>Bấm để chỉnh sửa kiểu văn bản của Bản cái</a:t>
            </a:r>
          </a:p>
          <a:p>
            <a:pPr lvl="1"/>
            <a:r>
              <a:rPr lang="vi-VN"/>
              <a:t>Mức hai</a:t>
            </a:r>
          </a:p>
          <a:p>
            <a:pPr lvl="2"/>
            <a:r>
              <a:rPr lang="vi-VN"/>
              <a:t>Mức ba</a:t>
            </a:r>
          </a:p>
          <a:p>
            <a:pPr lvl="3"/>
            <a:r>
              <a:rPr lang="vi-VN"/>
              <a:t>Mức bốn</a:t>
            </a:r>
          </a:p>
          <a:p>
            <a:pPr lvl="4"/>
            <a:r>
              <a:rPr lang="vi-VN"/>
              <a:t>Mức nă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10/1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1" y="5883275"/>
            <a:ext cx="764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60" r:id="rId10"/>
    <p:sldLayoutId id="2147483661" r:id="rId11"/>
    <p:sldLayoutId id="2147483666" r:id="rId12"/>
    <p:sldLayoutId id="2147483663" r:id="rId13"/>
    <p:sldLayoutId id="2147483667" r:id="rId14"/>
    <p:sldLayoutId id="2147483668" r:id="rId15"/>
    <p:sldLayoutId id="2147483658" r:id="rId16"/>
    <p:sldLayoutId id="2147483659" r:id="rId17"/>
    <p:sldLayoutId id="2147483669" r:id="rId18"/>
    <p:sldLayoutId id="2147483673" r:id="rId19"/>
    <p:sldLayoutId id="2147483674" r:id="rId20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0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6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7" Type="http://schemas.openxmlformats.org/officeDocument/2006/relationships/image" Target="../media/image11.tiff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notesSlide" Target="../notesSlides/notesSlide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1.xml"/><Relationship Id="rId5" Type="http://schemas.openxmlformats.org/officeDocument/2006/relationships/diagramQuickStyle" Target="../diagrams/quickStyle11.xml"/><Relationship Id="rId4" Type="http://schemas.openxmlformats.org/officeDocument/2006/relationships/diagramLayout" Target="../diagrams/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6.xml"/><Relationship Id="rId5" Type="http://schemas.openxmlformats.org/officeDocument/2006/relationships/diagramColors" Target="../diagrams/colors16.xml"/><Relationship Id="rId4" Type="http://schemas.openxmlformats.org/officeDocument/2006/relationships/diagramQuickStyle" Target="../diagrams/quickStyle1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7.xml"/><Relationship Id="rId2" Type="http://schemas.openxmlformats.org/officeDocument/2006/relationships/diagramData" Target="../diagrams/data17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7.xml"/><Relationship Id="rId5" Type="http://schemas.openxmlformats.org/officeDocument/2006/relationships/diagramColors" Target="../diagrams/colors17.xml"/><Relationship Id="rId4" Type="http://schemas.openxmlformats.org/officeDocument/2006/relationships/diagramQuickStyle" Target="../diagrams/quickStyle1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/><Relationship Id="rId2" Type="http://schemas.openxmlformats.org/officeDocument/2006/relationships/diagramData" Target="../diagrams/data18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8.xml"/><Relationship Id="rId5" Type="http://schemas.openxmlformats.org/officeDocument/2006/relationships/diagramColors" Target="../diagrams/colors18.xml"/><Relationship Id="rId4" Type="http://schemas.openxmlformats.org/officeDocument/2006/relationships/diagramQuickStyle" Target="../diagrams/quickStyle18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9.xml"/><Relationship Id="rId2" Type="http://schemas.openxmlformats.org/officeDocument/2006/relationships/diagramData" Target="../diagrams/data19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19.xml"/><Relationship Id="rId5" Type="http://schemas.openxmlformats.org/officeDocument/2006/relationships/diagramColors" Target="../diagrams/colors19.xml"/><Relationship Id="rId4" Type="http://schemas.openxmlformats.org/officeDocument/2006/relationships/diagramQuickStyle" Target="../diagrams/quickStyle19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0.xml"/><Relationship Id="rId7" Type="http://schemas.microsoft.com/office/2007/relationships/diagramDrawing" Target="../diagrams/drawing20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20.xml"/><Relationship Id="rId5" Type="http://schemas.openxmlformats.org/officeDocument/2006/relationships/diagramQuickStyle" Target="../diagrams/quickStyle20.xml"/><Relationship Id="rId4" Type="http://schemas.openxmlformats.org/officeDocument/2006/relationships/diagramLayout" Target="../diagrams/layout20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9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8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8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8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1.xml"/><Relationship Id="rId2" Type="http://schemas.openxmlformats.org/officeDocument/2006/relationships/diagramData" Target="../diagrams/data21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1.xml"/><Relationship Id="rId5" Type="http://schemas.openxmlformats.org/officeDocument/2006/relationships/diagramColors" Target="../diagrams/colors21.xml"/><Relationship Id="rId4" Type="http://schemas.openxmlformats.org/officeDocument/2006/relationships/diagramQuickStyle" Target="../diagrams/quickStyle21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2.xml"/><Relationship Id="rId2" Type="http://schemas.openxmlformats.org/officeDocument/2006/relationships/diagramData" Target="../diagrams/data22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2.xml"/><Relationship Id="rId5" Type="http://schemas.openxmlformats.org/officeDocument/2006/relationships/diagramColors" Target="../diagrams/colors22.xml"/><Relationship Id="rId4" Type="http://schemas.openxmlformats.org/officeDocument/2006/relationships/diagramQuickStyle" Target="../diagrams/quickStyle2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3.xml"/><Relationship Id="rId2" Type="http://schemas.openxmlformats.org/officeDocument/2006/relationships/diagramData" Target="../diagrams/data23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3.xml"/><Relationship Id="rId5" Type="http://schemas.openxmlformats.org/officeDocument/2006/relationships/diagramColors" Target="../diagrams/colors23.xml"/><Relationship Id="rId4" Type="http://schemas.openxmlformats.org/officeDocument/2006/relationships/diagramQuickStyle" Target="../diagrams/quickStyle23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2.png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3.png"/><Relationship Id="rId9" Type="http://schemas.microsoft.com/office/2007/relationships/diagramDrawing" Target="../diagrams/drawing1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4.xml"/><Relationship Id="rId2" Type="http://schemas.openxmlformats.org/officeDocument/2006/relationships/diagramData" Target="../diagrams/data24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4.xml"/><Relationship Id="rId5" Type="http://schemas.openxmlformats.org/officeDocument/2006/relationships/diagramColors" Target="../diagrams/colors24.xml"/><Relationship Id="rId4" Type="http://schemas.openxmlformats.org/officeDocument/2006/relationships/diagramQuickStyle" Target="../diagrams/quickStyle24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5.xml"/><Relationship Id="rId2" Type="http://schemas.openxmlformats.org/officeDocument/2006/relationships/diagramData" Target="../diagrams/data25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5.xml"/><Relationship Id="rId5" Type="http://schemas.openxmlformats.org/officeDocument/2006/relationships/diagramColors" Target="../diagrams/colors25.xml"/><Relationship Id="rId4" Type="http://schemas.openxmlformats.org/officeDocument/2006/relationships/diagramQuickStyle" Target="../diagrams/quickStyle25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6.xml"/><Relationship Id="rId2" Type="http://schemas.openxmlformats.org/officeDocument/2006/relationships/diagramData" Target="../diagrams/data26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6.xml"/><Relationship Id="rId5" Type="http://schemas.openxmlformats.org/officeDocument/2006/relationships/diagramColors" Target="../diagrams/colors26.xml"/><Relationship Id="rId4" Type="http://schemas.openxmlformats.org/officeDocument/2006/relationships/diagramQuickStyle" Target="../diagrams/quickStyle2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7.xml"/><Relationship Id="rId2" Type="http://schemas.openxmlformats.org/officeDocument/2006/relationships/diagramData" Target="../diagrams/data27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7.xml"/><Relationship Id="rId5" Type="http://schemas.openxmlformats.org/officeDocument/2006/relationships/diagramColors" Target="../diagrams/colors27.xml"/><Relationship Id="rId4" Type="http://schemas.openxmlformats.org/officeDocument/2006/relationships/diagramQuickStyle" Target="../diagrams/quickStyle2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8.xml"/><Relationship Id="rId7" Type="http://schemas.microsoft.com/office/2007/relationships/diagramDrawing" Target="../diagrams/drawing28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28.xml"/><Relationship Id="rId5" Type="http://schemas.openxmlformats.org/officeDocument/2006/relationships/diagramQuickStyle" Target="../diagrams/quickStyle28.xml"/><Relationship Id="rId4" Type="http://schemas.openxmlformats.org/officeDocument/2006/relationships/diagramLayout" Target="../diagrams/layout28.xml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notesSlide" Target="../notesSlides/notesSlide15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slideLayout" Target="../slideLayouts/slideLayout18.xml"/><Relationship Id="rId5" Type="http://schemas.openxmlformats.org/officeDocument/2006/relationships/tags" Target="../tags/tag12.xml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9.xml"/><Relationship Id="rId2" Type="http://schemas.openxmlformats.org/officeDocument/2006/relationships/diagramData" Target="../diagrams/data29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29.xml"/><Relationship Id="rId5" Type="http://schemas.openxmlformats.org/officeDocument/2006/relationships/diagramColors" Target="../diagrams/colors29.xml"/><Relationship Id="rId4" Type="http://schemas.openxmlformats.org/officeDocument/2006/relationships/diagramQuickStyle" Target="../diagrams/quickStyle29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0.xml"/><Relationship Id="rId2" Type="http://schemas.openxmlformats.org/officeDocument/2006/relationships/diagramData" Target="../diagrams/data30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30.xml"/><Relationship Id="rId5" Type="http://schemas.openxmlformats.org/officeDocument/2006/relationships/diagramColors" Target="../diagrams/colors30.xml"/><Relationship Id="rId4" Type="http://schemas.openxmlformats.org/officeDocument/2006/relationships/diagramQuickStyle" Target="../diagrams/quickStyle30.xml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1.xml"/><Relationship Id="rId2" Type="http://schemas.openxmlformats.org/officeDocument/2006/relationships/diagramData" Target="../diagrams/data31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31.xml"/><Relationship Id="rId5" Type="http://schemas.openxmlformats.org/officeDocument/2006/relationships/diagramColors" Target="../diagrams/colors31.xml"/><Relationship Id="rId4" Type="http://schemas.openxmlformats.org/officeDocument/2006/relationships/diagramQuickStyle" Target="../diagrams/quickStyle31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8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2.xml"/><Relationship Id="rId2" Type="http://schemas.openxmlformats.org/officeDocument/2006/relationships/diagramData" Target="../diagrams/data32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32.xml"/><Relationship Id="rId5" Type="http://schemas.openxmlformats.org/officeDocument/2006/relationships/diagramColors" Target="../diagrams/colors32.xml"/><Relationship Id="rId4" Type="http://schemas.openxmlformats.org/officeDocument/2006/relationships/diagramQuickStyle" Target="../diagrams/quickStyle3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9" Type="http://schemas.openxmlformats.org/officeDocument/2006/relationships/slideLayout" Target="../slideLayouts/slideLayout18.xml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9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30.xml"/><Relationship Id="rId9" Type="http://schemas.openxmlformats.org/officeDocument/2006/relationships/tags" Target="../tags/tag3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8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3.xml"/><Relationship Id="rId7" Type="http://schemas.microsoft.com/office/2007/relationships/diagramDrawing" Target="../diagrams/drawing33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33.xml"/><Relationship Id="rId5" Type="http://schemas.openxmlformats.org/officeDocument/2006/relationships/diagramQuickStyle" Target="../diagrams/quickStyle33.xml"/><Relationship Id="rId4" Type="http://schemas.openxmlformats.org/officeDocument/2006/relationships/diagramLayout" Target="../diagrams/layout33.xml"/></Relationships>
</file>

<file path=ppt/slides/_rels/slide8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84000"/>
                <a:shade val="100000"/>
                <a:hueMod val="92000"/>
                <a:satMod val="180000"/>
                <a:lumMod val="114000"/>
              </a:schemeClr>
            </a:gs>
            <a:gs pos="100000">
              <a:schemeClr val="bg2">
                <a:shade val="92000"/>
                <a:satMod val="170000"/>
                <a:lumMod val="96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F163E7DA-1173-472F-938E-009B583A12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6017" y="3909805"/>
            <a:ext cx="10924674" cy="1663221"/>
          </a:xfrm>
        </p:spPr>
        <p:txBody>
          <a:bodyPr>
            <a:noAutofit/>
          </a:bodyPr>
          <a:lstStyle/>
          <a:p>
            <a:r>
              <a:rPr lang="en-US" altLang="vi-VN" sz="36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TẬP HUẤN NĂNG LỰC THỰC HÀNH </a:t>
            </a:r>
            <a:br>
              <a:rPr lang="en-US" altLang="vi-VN" sz="36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en-US" altLang="vi-VN" sz="36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BẢO VỆ TRẺ EM </a:t>
            </a:r>
            <a:br>
              <a:rPr lang="en-US" altLang="vi-VN" sz="36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en-US" altLang="vi-VN" sz="36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CẤP ĐỘ 1</a:t>
            </a:r>
            <a:endParaRPr lang="en-US" sz="36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Picture 4" descr="D:\thanh mai\giao duc ky nang song\Du an Thanh Hoa\anh\xam_hai_tinh_duc_tre_em_trai.png">
            <a:extLst>
              <a:ext uri="{FF2B5EF4-FFF2-40B4-BE49-F238E27FC236}">
                <a16:creationId xmlns:a16="http://schemas.microsoft.com/office/drawing/2014/main" id="{56241163-8139-43E5-8EE1-3203643B55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1" r="4766" b="1"/>
          <a:stretch/>
        </p:blipFill>
        <p:spPr bwMode="auto">
          <a:xfrm>
            <a:off x="100208" y="0"/>
            <a:ext cx="5995792" cy="3609379"/>
          </a:xfrm>
          <a:prstGeom prst="roundRect">
            <a:avLst>
              <a:gd name="adj" fmla="val 530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5" descr="D:\thanh mai\giao duc ky nang song\Du an Thanh Hoa\anh\xam_hai_tinh_duc_tre_em_gai.png">
            <a:extLst>
              <a:ext uri="{FF2B5EF4-FFF2-40B4-BE49-F238E27FC236}">
                <a16:creationId xmlns:a16="http://schemas.microsoft.com/office/drawing/2014/main" id="{6CE14F01-ADAA-411E-A1E9-36F0551623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2910" y="0"/>
            <a:ext cx="5878882" cy="3609379"/>
          </a:xfrm>
          <a:prstGeom prst="roundRect">
            <a:avLst>
              <a:gd name="adj" fmla="val 530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9872579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73FAA-4530-674D-A4F4-73AF85223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716915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Phân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chia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rách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nhiệm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va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rò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BVTE –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ấp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độ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va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rò</a:t>
            </a:r>
            <a:endParaRPr lang="en-AU" sz="3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11BC1E45-7C5A-EA4F-8E03-38576CC17106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96240" y="594360"/>
          <a:ext cx="11795760" cy="61271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3B7CD9-B76A-844E-8F07-2571FB57C9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pPr/>
              <a:t>10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7282433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CED0CDD5-ABB0-4F84-9660-33621D0D5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889" y="88165"/>
            <a:ext cx="11030712" cy="597635"/>
          </a:xfrm>
        </p:spPr>
        <p:txBody>
          <a:bodyPr>
            <a:normAutofit fontScale="90000"/>
          </a:bodyPr>
          <a:lstStyle/>
          <a:p>
            <a:r>
              <a:rPr lang="en-AU" sz="2500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Bức</a:t>
            </a:r>
            <a:r>
              <a:rPr lang="en-AU" sz="25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tranh</a:t>
            </a:r>
            <a:r>
              <a:rPr lang="en-AU" sz="25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toàn</a:t>
            </a:r>
            <a:r>
              <a:rPr lang="en-AU" sz="25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cảnh</a:t>
            </a:r>
            <a:r>
              <a:rPr lang="en-AU" sz="25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AU" sz="25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AU" sz="25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nhiệm</a:t>
            </a:r>
            <a:r>
              <a:rPr lang="en-AU" sz="25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vụ</a:t>
            </a:r>
            <a:r>
              <a:rPr lang="en-AU" sz="25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bảo</a:t>
            </a:r>
            <a:r>
              <a:rPr lang="en-AU" sz="25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vệ</a:t>
            </a:r>
            <a:r>
              <a:rPr lang="en-AU" sz="25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5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em</a:t>
            </a:r>
            <a:r>
              <a:rPr lang="en-AU" sz="25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ở </a:t>
            </a:r>
            <a:r>
              <a:rPr lang="en-AU" sz="2500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Việt</a:t>
            </a:r>
            <a:r>
              <a:rPr lang="en-AU" sz="25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Nam</a:t>
            </a:r>
            <a:endParaRPr lang="en-US" sz="25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Chỗ dành sẵn cho Nội dung 3">
            <a:extLst>
              <a:ext uri="{FF2B5EF4-FFF2-40B4-BE49-F238E27FC236}">
                <a16:creationId xmlns:a16="http://schemas.microsoft.com/office/drawing/2014/main" id="{F0BF6BB5-7DC4-4FBE-9065-798F8F82BA7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76265677"/>
              </p:ext>
            </p:extLst>
          </p:nvPr>
        </p:nvGraphicFramePr>
        <p:xfrm>
          <a:off x="0" y="685801"/>
          <a:ext cx="12115800" cy="60840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53250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149" y="0"/>
            <a:ext cx="10364451" cy="978195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Times New Roman" pitchFamily="18" charset="0"/>
                <a:cs typeface="Times New Roman" pitchFamily="18" charset="0"/>
              </a:rPr>
              <a:t>Ng</a:t>
            </a:r>
            <a:r>
              <a:rPr lang="vi-VN" dirty="0">
                <a:latin typeface="Times New Roman" pitchFamily="18" charset="0"/>
                <a:cs typeface="Times New Roman" pitchFamily="18" charset="0"/>
              </a:rPr>
              <a:t>ư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ời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bvte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cấp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độ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1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tr</a:t>
            </a:r>
            <a:r>
              <a:rPr lang="vi-VN" dirty="0">
                <a:latin typeface="Times New Roman" pitchFamily="18" charset="0"/>
                <a:cs typeface="Times New Roman" pitchFamily="18" charset="0"/>
              </a:rPr>
              <a:t>ư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ờ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họ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ai?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12480423"/>
              </p:ext>
            </p:extLst>
          </p:nvPr>
        </p:nvGraphicFramePr>
        <p:xfrm>
          <a:off x="138223" y="978195"/>
          <a:ext cx="11791507" cy="58053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888781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42AEC1-412A-EE48-B099-CD2D9C016A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4486" y="72382"/>
            <a:ext cx="11784314" cy="711321"/>
          </a:xfrm>
        </p:spPr>
        <p:txBody>
          <a:bodyPr>
            <a:normAutofit fontScale="90000"/>
          </a:bodyPr>
          <a:lstStyle/>
          <a:p>
            <a:pPr algn="ctr"/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Vai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rò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rách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nhiệm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bảo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vệ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em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ngành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Giáo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dục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&amp;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Đào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ạo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– Tr</a:t>
            </a:r>
            <a:r>
              <a:rPr lang="vi-VN" sz="2800" dirty="0">
                <a:latin typeface="Times New Roman" pitchFamily="18" charset="0"/>
                <a:cs typeface="Times New Roman" pitchFamily="18" charset="0"/>
              </a:rPr>
              <a:t>ư</a:t>
            </a:r>
            <a:r>
              <a:rPr lang="en-US" sz="2800" dirty="0" err="1">
                <a:latin typeface="Times New Roman" pitchFamily="18" charset="0"/>
                <a:cs typeface="Times New Roman" pitchFamily="18" charset="0"/>
              </a:rPr>
              <a:t>ờng</a:t>
            </a:r>
            <a:r>
              <a:rPr lang="en-US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dirty="0" err="1">
                <a:latin typeface="Times New Roman" pitchFamily="18" charset="0"/>
                <a:cs typeface="Times New Roman" pitchFamily="18" charset="0"/>
              </a:rPr>
              <a:t>học</a:t>
            </a:r>
            <a:endParaRPr lang="en-AU" sz="2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2FDCA6-DF3E-E541-B31F-13C9FE651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pPr/>
              <a:t>13</a:t>
            </a:fld>
            <a:endParaRPr lang="en-AU" dirty="0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65A877B9-10CB-6846-8029-54D0195B1128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0" y="821803"/>
          <a:ext cx="12192000" cy="60361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C321579-DF94-1A4C-9738-0BE9AA2FD9D4}"/>
              </a:ext>
            </a:extLst>
          </p:cNvPr>
          <p:cNvSpPr/>
          <p:nvPr/>
        </p:nvSpPr>
        <p:spPr>
          <a:xfrm>
            <a:off x="204486" y="2581677"/>
            <a:ext cx="1566440" cy="4050617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an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gành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ảo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ệ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m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tr</a:t>
            </a:r>
            <a:r>
              <a:rPr lang="vi-VN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ư</a:t>
            </a:r>
            <a:r>
              <a:rPr lang="en-US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ờng</a:t>
            </a:r>
            <a:r>
              <a:rPr lang="en-US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ọc</a:t>
            </a:r>
            <a:r>
              <a:rPr lang="en-US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US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6 </a:t>
            </a:r>
            <a:r>
              <a:rPr lang="en-US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ai</a:t>
            </a:r>
            <a:r>
              <a:rPr lang="en-US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ò</a:t>
            </a:r>
            <a:endParaRPr lang="en-AU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4010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1BBC2C2E-5DE9-4B35-801F-33C8739095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3794" y="135140"/>
            <a:ext cx="10269006" cy="678676"/>
          </a:xfrm>
        </p:spPr>
        <p:txBody>
          <a:bodyPr>
            <a:normAutofit/>
          </a:bodyPr>
          <a:lstStyle/>
          <a:p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Năng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lự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ấp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độ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1</a:t>
            </a:r>
            <a:endParaRPr lang="en-US" sz="3300" dirty="0">
              <a:solidFill>
                <a:srgbClr val="EBEBEB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Chỗ dành sẵn cho Nội dung 2">
            <a:extLst>
              <a:ext uri="{FF2B5EF4-FFF2-40B4-BE49-F238E27FC236}">
                <a16:creationId xmlns:a16="http://schemas.microsoft.com/office/drawing/2014/main" id="{D1032FD9-8BB7-457B-9396-3B674C02B4C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13419930"/>
              </p:ext>
            </p:extLst>
          </p:nvPr>
        </p:nvGraphicFramePr>
        <p:xfrm>
          <a:off x="0" y="996696"/>
          <a:ext cx="12078586" cy="57261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770999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Graphic spid="5" grpId="0">
        <p:bldAsOne/>
      </p:bldGraphic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HUYEN OANH\Desktop\thap-nhu-cau-maslow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86" y="855406"/>
            <a:ext cx="12109213" cy="6002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Hình chữ nhật 1">
            <a:extLst>
              <a:ext uri="{FF2B5EF4-FFF2-40B4-BE49-F238E27FC236}">
                <a16:creationId xmlns:a16="http://schemas.microsoft.com/office/drawing/2014/main" id="{FE60C288-2D73-4828-B49B-5A7B38A88A43}"/>
              </a:ext>
            </a:extLst>
          </p:cNvPr>
          <p:cNvSpPr/>
          <p:nvPr/>
        </p:nvSpPr>
        <p:spPr>
          <a:xfrm>
            <a:off x="1297858" y="117987"/>
            <a:ext cx="9586452" cy="73741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2060"/>
                </a:solidFill>
              </a:rPr>
              <a:t>CÁC NHU CẦU CỦA TRẺ EM – THÁP NHU CẦU MASLOW</a:t>
            </a:r>
          </a:p>
        </p:txBody>
      </p:sp>
    </p:spTree>
    <p:extLst>
      <p:ext uri="{BB962C8B-B14F-4D97-AF65-F5344CB8AC3E}">
        <p14:creationId xmlns:p14="http://schemas.microsoft.com/office/powerpoint/2010/main" val="6190950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B64EF0-DC01-E84E-BD31-9AE4036AE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706" y="122057"/>
            <a:ext cx="10515600" cy="561632"/>
          </a:xfrm>
        </p:spPr>
        <p:txBody>
          <a:bodyPr>
            <a:normAutofit fontScale="90000"/>
          </a:bodyPr>
          <a:lstStyle/>
          <a:p>
            <a:pPr algn="ctr"/>
            <a:br>
              <a:rPr lang="en-AU" sz="3200" dirty="0"/>
            </a:b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CÁC NHU CẦU CHĂM SÓC CỦA TRẺ EM</a:t>
            </a:r>
            <a:br>
              <a:rPr lang="en-AU" sz="3200" dirty="0">
                <a:latin typeface="Times New Roman" pitchFamily="18" charset="0"/>
                <a:cs typeface="Times New Roman" pitchFamily="18" charset="0"/>
              </a:rPr>
            </a:br>
            <a:endParaRPr lang="en-AU" sz="3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1080147-D5E8-6042-B122-1650DA0FC30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0" y="856527"/>
          <a:ext cx="12192000" cy="60014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2049C3-938A-0140-BBC5-5D11B1CAC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pPr/>
              <a:t>16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811562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0" y="174330"/>
          <a:ext cx="12192000" cy="66836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30339581-C981-CF4F-9FE9-3E4588D1E4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62893" y="2134078"/>
            <a:ext cx="3466214" cy="2764173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0372761-B2C4-EE46-9B1E-95075FA543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pPr/>
              <a:t>17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298355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367" y="-148657"/>
            <a:ext cx="11902633" cy="655574"/>
          </a:xfrm>
        </p:spPr>
        <p:txBody>
          <a:bodyPr>
            <a:normAutofit/>
          </a:bodyPr>
          <a:lstStyle/>
          <a:p>
            <a:pPr algn="ctr"/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Chúng</a:t>
            </a:r>
            <a:r>
              <a:rPr lang="en-AU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tâm</a:t>
            </a:r>
            <a:r>
              <a:rPr lang="en-AU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tâm</a:t>
            </a:r>
            <a:r>
              <a:rPr lang="en-AU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đến</a:t>
            </a:r>
            <a:r>
              <a:rPr lang="en-AU" sz="2400" dirty="0">
                <a:latin typeface="Times New Roman" pitchFamily="18" charset="0"/>
                <a:cs typeface="Times New Roman" pitchFamily="18" charset="0"/>
              </a:rPr>
              <a:t> 6 </a:t>
            </a:r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nhu</a:t>
            </a:r>
            <a:r>
              <a:rPr lang="en-AU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cầu</a:t>
            </a:r>
            <a:r>
              <a:rPr lang="en-AU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chăm</a:t>
            </a:r>
            <a:r>
              <a:rPr lang="en-AU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sóc</a:t>
            </a:r>
            <a:r>
              <a:rPr lang="en-AU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trẻ</a:t>
            </a:r>
            <a:endParaRPr lang="en-AU" sz="2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0" y="506917"/>
            <a:ext cx="12191999" cy="6361909"/>
          </a:xfr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endParaRPr lang="en-AU" dirty="0">
              <a:solidFill>
                <a:schemeClr val="bg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4059" y="590209"/>
            <a:ext cx="12196036" cy="6386058"/>
            <a:chOff x="1947861" y="1123434"/>
            <a:chExt cx="6570236" cy="5766305"/>
          </a:xfrm>
        </p:grpSpPr>
        <p:sp>
          <p:nvSpPr>
            <p:cNvPr id="5" name="Heptagon 4"/>
            <p:cNvSpPr/>
            <p:nvPr/>
          </p:nvSpPr>
          <p:spPr bwMode="auto">
            <a:xfrm>
              <a:off x="2878812" y="2190552"/>
              <a:ext cx="4234428" cy="4234428"/>
            </a:xfrm>
            <a:prstGeom prst="heptagon">
              <a:avLst/>
            </a:prstGeom>
            <a:solidFill>
              <a:schemeClr val="bg1">
                <a:lumMod val="75000"/>
              </a:schemeClr>
            </a:solidFill>
            <a:ln w="38100" algn="ctr">
              <a:solidFill>
                <a:srgbClr val="FF9900"/>
              </a:solidFill>
              <a:miter lim="800000"/>
              <a:headEnd/>
              <a:tailEnd/>
            </a:ln>
          </p:spPr>
          <p:txBody>
            <a:bodyPr lIns="0" tIns="0" rIns="0" bIns="0" rtlCol="0" anchor="ctr"/>
            <a:lstStyle/>
            <a:p>
              <a:pPr algn="ctr" defTabSz="972357"/>
              <a:endParaRPr lang="en-AU" sz="2000" b="1" dirty="0">
                <a:solidFill>
                  <a:srgbClr val="000000"/>
                </a:solidFill>
              </a:endParaRPr>
            </a:p>
          </p:txBody>
        </p:sp>
        <p:sp>
          <p:nvSpPr>
            <p:cNvPr id="7" name="Oval 4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6326495" y="1191080"/>
              <a:ext cx="2052931" cy="2568204"/>
            </a:xfrm>
            <a:prstGeom prst="ellipse">
              <a:avLst/>
            </a:prstGeom>
            <a:solidFill>
              <a:srgbClr val="6D9F0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0" tIns="0" rIns="0" bIns="0" anchor="ctr">
              <a:noAutofit/>
            </a:bodyPr>
            <a:lstStyle/>
            <a:p>
              <a:pPr algn="ctr" defTabSz="912813">
                <a:buSzPct val="75000"/>
              </a:pPr>
              <a:r>
                <a:rPr lang="en-AU" sz="2000" b="1" dirty="0" err="1">
                  <a:solidFill>
                    <a:srgbClr val="002060"/>
                  </a:solidFill>
                  <a:latin typeface="Times New Roman" pitchFamily="18" charset="0"/>
                  <a:cs typeface="Times New Roman" pitchFamily="18" charset="0"/>
                </a:rPr>
                <a:t>Chăm</a:t>
              </a:r>
              <a:r>
                <a:rPr lang="en-AU" sz="2000" b="1" dirty="0">
                  <a:solidFill>
                    <a:srgbClr val="00206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002060"/>
                  </a:solidFill>
                  <a:latin typeface="Times New Roman" pitchFamily="18" charset="0"/>
                  <a:cs typeface="Times New Roman" pitchFamily="18" charset="0"/>
                </a:rPr>
                <a:t>sóc</a:t>
              </a:r>
              <a:r>
                <a:rPr lang="en-AU" sz="2000" b="1" dirty="0">
                  <a:solidFill>
                    <a:srgbClr val="00206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002060"/>
                  </a:solidFill>
                  <a:latin typeface="Times New Roman" pitchFamily="18" charset="0"/>
                  <a:cs typeface="Times New Roman" pitchFamily="18" charset="0"/>
                </a:rPr>
                <a:t>tâm</a:t>
              </a:r>
              <a:r>
                <a:rPr lang="en-AU" sz="2000" b="1" dirty="0">
                  <a:solidFill>
                    <a:srgbClr val="00206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002060"/>
                  </a:solidFill>
                  <a:latin typeface="Times New Roman" pitchFamily="18" charset="0"/>
                  <a:cs typeface="Times New Roman" pitchFamily="18" charset="0"/>
                </a:rPr>
                <a:t>lý</a:t>
              </a:r>
              <a:endParaRPr lang="en-AU" sz="20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algn="ctr" defTabSz="912813">
                <a:buSzPct val="75000"/>
              </a:pP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Quan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âm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ới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hình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ảnh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bản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hân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của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rẻ</a:t>
              </a:r>
              <a:endParaRPr lang="en-AU" sz="20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algn="ctr" defTabSz="912813">
                <a:buSzPct val="75000"/>
              </a:pP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ôi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là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ai?</a:t>
              </a:r>
            </a:p>
            <a:p>
              <a:pPr algn="ctr" defTabSz="912813">
                <a:buSzPct val="75000"/>
              </a:pP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Điều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gì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khiến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ôi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cảm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hấy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ôi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có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giá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rị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?</a:t>
              </a:r>
            </a:p>
            <a:p>
              <a:pPr algn="ctr" defTabSz="912813">
                <a:buSzPct val="75000"/>
              </a:pP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Điều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ôi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có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hể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làm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là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gì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?</a:t>
              </a:r>
            </a:p>
          </p:txBody>
        </p:sp>
        <p:sp>
          <p:nvSpPr>
            <p:cNvPr id="8" name="Oval 42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465167" y="4192211"/>
              <a:ext cx="2052930" cy="2498974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36000" tIns="36000" rIns="36000" bIns="36000" anchor="ctr">
              <a:noAutofit/>
            </a:bodyPr>
            <a:lstStyle/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sz="2200" b="1" dirty="0" err="1">
                  <a:solidFill>
                    <a:srgbClr val="00B0F0"/>
                  </a:solidFill>
                  <a:latin typeface="Times New Roman" pitchFamily="18" charset="0"/>
                  <a:cs typeface="Times New Roman" pitchFamily="18" charset="0"/>
                </a:rPr>
                <a:t>Chăm</a:t>
              </a:r>
              <a:r>
                <a:rPr lang="en-AU" sz="2200" b="1" dirty="0">
                  <a:solidFill>
                    <a:srgbClr val="00B0F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200" b="1" dirty="0" err="1">
                  <a:solidFill>
                    <a:srgbClr val="00B0F0"/>
                  </a:solidFill>
                  <a:latin typeface="Times New Roman" pitchFamily="18" charset="0"/>
                  <a:cs typeface="Times New Roman" pitchFamily="18" charset="0"/>
                </a:rPr>
                <a:t>sóc</a:t>
              </a:r>
              <a:r>
                <a:rPr lang="en-AU" sz="2200" b="1" dirty="0">
                  <a:solidFill>
                    <a:srgbClr val="00B0F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200" b="1" dirty="0" err="1">
                  <a:solidFill>
                    <a:srgbClr val="00B0F0"/>
                  </a:solidFill>
                  <a:latin typeface="Times New Roman" pitchFamily="18" charset="0"/>
                  <a:cs typeface="Times New Roman" pitchFamily="18" charset="0"/>
                </a:rPr>
                <a:t>cảm</a:t>
              </a:r>
              <a:r>
                <a:rPr lang="en-AU" sz="2200" b="1" dirty="0">
                  <a:solidFill>
                    <a:srgbClr val="00B0F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200" b="1" dirty="0" err="1">
                  <a:solidFill>
                    <a:srgbClr val="00B0F0"/>
                  </a:solidFill>
                  <a:latin typeface="Times New Roman" pitchFamily="18" charset="0"/>
                  <a:cs typeface="Times New Roman" pitchFamily="18" charset="0"/>
                </a:rPr>
                <a:t>xúc</a:t>
              </a:r>
              <a:endParaRPr lang="en-AU" sz="2200" b="1" dirty="0">
                <a:solidFill>
                  <a:srgbClr val="00B0F0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Quan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âm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ới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cảm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giác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của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rẻ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khi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rẻ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được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là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đối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ượng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chăm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sóc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yêu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hương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của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người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khác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cũng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như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bản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hân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được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hể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hiện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ình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yêu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.</a:t>
              </a:r>
            </a:p>
          </p:txBody>
        </p:sp>
        <p:sp>
          <p:nvSpPr>
            <p:cNvPr id="9" name="Oval 4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012543" y="4036223"/>
              <a:ext cx="1954099" cy="285351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36000" tIns="36000" rIns="36000" bIns="36000" anchor="ctr">
              <a:noAutofit/>
            </a:bodyPr>
            <a:lstStyle/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sz="2000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Chăm</a:t>
              </a:r>
              <a:r>
                <a:rPr lang="en-AU" sz="2000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sóc</a:t>
              </a:r>
              <a:r>
                <a:rPr lang="en-AU" sz="2000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xã</a:t>
              </a:r>
              <a:r>
                <a:rPr lang="en-AU" sz="2000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hội</a:t>
              </a:r>
              <a:endParaRPr lang="en-AU" sz="20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Quan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tâm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tới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nhu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cầu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được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là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thành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viên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của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các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mối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quan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hệ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cộng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đồng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như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gia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đình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,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họ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hành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,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hàng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xóm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và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toàn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thể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xã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hội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nơi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có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sự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sẻ</a:t>
              </a:r>
              <a:r>
                <a:rPr lang="en-AU" sz="20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chia qua </a:t>
              </a:r>
              <a:r>
                <a:rPr lang="en-AU" sz="20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lại</a:t>
              </a:r>
              <a:endParaRPr lang="en-AU" sz="2000" b="1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0" name="Oval 4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082447" y="4962993"/>
              <a:ext cx="2362563" cy="1728192"/>
            </a:xfrm>
            <a:prstGeom prst="ellipse">
              <a:avLst/>
            </a:prstGeom>
            <a:solidFill>
              <a:srgbClr val="0000FF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36000" tIns="36000" rIns="36000" bIns="36000" anchor="ctr">
              <a:noAutofit/>
            </a:bodyPr>
            <a:lstStyle/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sz="2000" b="1" dirty="0" err="1">
                  <a:solidFill>
                    <a:srgbClr val="FF0000"/>
                  </a:solidFill>
                  <a:latin typeface="Times New Roman" pitchFamily="18" charset="0"/>
                  <a:cs typeface="Times New Roman" pitchFamily="18" charset="0"/>
                </a:rPr>
                <a:t>Chăm</a:t>
              </a:r>
              <a:r>
                <a:rPr lang="en-AU" sz="2000" b="1" dirty="0">
                  <a:solidFill>
                    <a:srgbClr val="FF000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0000"/>
                  </a:solidFill>
                  <a:latin typeface="Times New Roman" pitchFamily="18" charset="0"/>
                  <a:cs typeface="Times New Roman" pitchFamily="18" charset="0"/>
                </a:rPr>
                <a:t>sóc</a:t>
              </a:r>
              <a:r>
                <a:rPr lang="en-AU" sz="2000" b="1" dirty="0">
                  <a:solidFill>
                    <a:srgbClr val="FF000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0000"/>
                  </a:solidFill>
                  <a:latin typeface="Times New Roman" pitchFamily="18" charset="0"/>
                  <a:cs typeface="Times New Roman" pitchFamily="18" charset="0"/>
                </a:rPr>
                <a:t>nhận</a:t>
              </a:r>
              <a:r>
                <a:rPr lang="en-AU" sz="2000" b="1" dirty="0">
                  <a:solidFill>
                    <a:srgbClr val="FF000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rgbClr val="FF0000"/>
                  </a:solidFill>
                  <a:latin typeface="Times New Roman" pitchFamily="18" charset="0"/>
                  <a:cs typeface="Times New Roman" pitchFamily="18" charset="0"/>
                </a:rPr>
                <a:t>thức</a:t>
              </a:r>
              <a:endParaRPr lang="en-AU" sz="20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Quan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âm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ới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mong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ước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học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ập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và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hiểu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về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hế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giới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xong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quanh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,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ạo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cho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rẻ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động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lực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học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ập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và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hành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công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rong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tương</a:t>
              </a:r>
              <a:r>
                <a:rPr lang="en-AU" sz="2000" b="1" dirty="0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000" b="1" dirty="0" err="1">
                  <a:solidFill>
                    <a:schemeClr val="bg1"/>
                  </a:solidFill>
                  <a:latin typeface="Times New Roman" pitchFamily="18" charset="0"/>
                  <a:cs typeface="Times New Roman" pitchFamily="18" charset="0"/>
                </a:rPr>
                <a:t>lai</a:t>
              </a:r>
              <a:endParaRPr lang="en-AU" sz="20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1" name="Oval 4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564168" y="1123434"/>
              <a:ext cx="2762327" cy="1479266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36000" tIns="36000" rIns="36000" bIns="36000" anchor="ctr">
              <a:noAutofit/>
            </a:bodyPr>
            <a:lstStyle/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b="1" dirty="0" err="1">
                  <a:solidFill>
                    <a:srgbClr val="C00000"/>
                  </a:solidFill>
                  <a:latin typeface="Times New Roman" pitchFamily="18" charset="0"/>
                  <a:cs typeface="Times New Roman" pitchFamily="18" charset="0"/>
                </a:rPr>
                <a:t>Chăm</a:t>
              </a:r>
              <a:r>
                <a:rPr lang="en-AU" b="1" dirty="0">
                  <a:solidFill>
                    <a:srgbClr val="C0000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C00000"/>
                  </a:solidFill>
                  <a:latin typeface="Times New Roman" pitchFamily="18" charset="0"/>
                  <a:cs typeface="Times New Roman" pitchFamily="18" charset="0"/>
                </a:rPr>
                <a:t>sóc</a:t>
              </a:r>
              <a:r>
                <a:rPr lang="en-AU" b="1" dirty="0">
                  <a:solidFill>
                    <a:srgbClr val="C0000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C00000"/>
                  </a:solidFill>
                  <a:latin typeface="Times New Roman" pitchFamily="18" charset="0"/>
                  <a:cs typeface="Times New Roman" pitchFamily="18" charset="0"/>
                </a:rPr>
                <a:t>thể</a:t>
              </a:r>
              <a:r>
                <a:rPr lang="en-AU" b="1" dirty="0">
                  <a:solidFill>
                    <a:srgbClr val="C0000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C00000"/>
                  </a:solidFill>
                  <a:latin typeface="Times New Roman" pitchFamily="18" charset="0"/>
                  <a:cs typeface="Times New Roman" pitchFamily="18" charset="0"/>
                </a:rPr>
                <a:t>chất</a:t>
              </a:r>
              <a:endParaRPr lang="en-AU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Quan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tâm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tới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cơ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thể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trẻ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thông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qua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việc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cung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cấp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đầy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đủ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và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phù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hợp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thức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ăn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,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vệ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sinh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,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quần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áo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,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nhà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ở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và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chăm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sóc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 y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cs typeface="Times New Roman" pitchFamily="18" charset="0"/>
                </a:rPr>
                <a:t>tế</a:t>
              </a:r>
              <a:endParaRPr lang="en-AU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2" name="Oval 4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947861" y="1822806"/>
              <a:ext cx="1820343" cy="2116403"/>
            </a:xfrm>
            <a:prstGeom prst="ellipse">
              <a:avLst/>
            </a:prstGeom>
            <a:solidFill>
              <a:srgbClr val="B61D8A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36000" tIns="36000" rIns="36000" bIns="36000" anchor="ctr">
              <a:noAutofit/>
            </a:bodyPr>
            <a:lstStyle/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Chăm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sóc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đạo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0070C0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đức</a:t>
              </a:r>
              <a:r>
                <a:rPr lang="en-AU" b="1" dirty="0">
                  <a:solidFill>
                    <a:srgbClr val="0070C0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</a:p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Quan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tâm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tới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cảm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giác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của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trẻ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về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những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hành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vi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ứng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xử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đúng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hoặc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sai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đối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với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bản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thân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và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đối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với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những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người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khác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</a:t>
              </a:r>
              <a:r>
                <a:rPr lang="en-AU" b="1" dirty="0" err="1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trong</a:t>
              </a:r>
              <a:r>
                <a:rPr lang="en-AU" b="1" dirty="0">
                  <a:solidFill>
                    <a:srgbClr val="FFFFFF"/>
                  </a:solidFill>
                  <a:latin typeface="Times New Roman" pitchFamily="18" charset="0"/>
                  <a:ea typeface="ＭＳ Ｐゴシック" pitchFamily="50" charset="-128"/>
                  <a:cs typeface="Times New Roman" pitchFamily="18" charset="0"/>
                </a:rPr>
                <a:t> XH</a:t>
              </a:r>
            </a:p>
          </p:txBody>
        </p:sp>
        <p:sp>
          <p:nvSpPr>
            <p:cNvPr id="13" name="Oval 4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130843" y="2868906"/>
              <a:ext cx="2052930" cy="1986531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square" lIns="36000" tIns="36000" rIns="36000" bIns="36000" anchor="ctr">
              <a:noAutofit/>
            </a:bodyPr>
            <a:lstStyle/>
            <a:p>
              <a:pPr algn="ctr" defTabSz="912813">
                <a:lnSpc>
                  <a:spcPct val="95000"/>
                </a:lnSpc>
                <a:spcAft>
                  <a:spcPct val="37000"/>
                </a:spcAft>
                <a:buSzPct val="75000"/>
              </a:pPr>
              <a:r>
                <a:rPr lang="en-AU" sz="28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6 </a:t>
              </a:r>
              <a:r>
                <a:rPr lang="en-AU" sz="28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nhu</a:t>
              </a:r>
              <a:r>
                <a:rPr lang="en-AU" sz="28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8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cầu</a:t>
              </a:r>
              <a:r>
                <a:rPr lang="en-AU" sz="28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8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chăm</a:t>
              </a:r>
              <a:r>
                <a:rPr lang="en-AU" sz="28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8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sóc</a:t>
              </a:r>
              <a:r>
                <a:rPr lang="en-AU" sz="28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8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của</a:t>
              </a:r>
              <a:r>
                <a:rPr lang="en-AU" sz="28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8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trẻ</a:t>
              </a:r>
              <a:r>
                <a:rPr lang="en-AU" sz="2800" b="1" dirty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 </a:t>
              </a:r>
              <a:r>
                <a:rPr lang="en-AU" sz="2800" b="1" dirty="0" err="1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em</a:t>
              </a:r>
              <a:endParaRPr lang="en-AU" sz="2800" b="1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75254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1F41A3-39A2-E346-86F6-99B1C41223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023" y="81023"/>
            <a:ext cx="12110977" cy="763930"/>
          </a:xfrm>
        </p:spPr>
        <p:txBody>
          <a:bodyPr>
            <a:normAutofit/>
          </a:bodyPr>
          <a:lstStyle/>
          <a:p>
            <a:pPr algn="ctr"/>
            <a:r>
              <a:rPr lang="en-AU" sz="3200" b="1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Đáp</a:t>
            </a:r>
            <a:r>
              <a:rPr lang="en-AU" sz="3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ứng</a:t>
            </a:r>
            <a:r>
              <a:rPr lang="en-AU" sz="3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nhu</a:t>
            </a:r>
            <a:r>
              <a:rPr lang="en-AU" sz="3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cầu</a:t>
            </a:r>
            <a:r>
              <a:rPr lang="en-AU" sz="3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chăm</a:t>
            </a:r>
            <a:r>
              <a:rPr lang="en-AU" sz="3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sóc</a:t>
            </a:r>
            <a:r>
              <a:rPr lang="en-AU" sz="3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3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3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em</a:t>
            </a:r>
            <a:endParaRPr lang="en-AU" sz="32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E965D67-01A8-3743-8B76-47A1DCB8A0C1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0" y="937548"/>
          <a:ext cx="12192000" cy="59204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B8F3F2B-0D2C-3848-9040-B2E7CBC13586}"/>
              </a:ext>
            </a:extLst>
          </p:cNvPr>
          <p:cNvSpPr/>
          <p:nvPr/>
        </p:nvSpPr>
        <p:spPr>
          <a:xfrm>
            <a:off x="4976734" y="937548"/>
            <a:ext cx="2038663" cy="56881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ăng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lực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lớn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guồn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lực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mà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ọ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iếp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ận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quyết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oàn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oàn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hu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ầu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hăm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óc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m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áp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ứng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phù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hay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h</a:t>
            </a:r>
            <a:r>
              <a:rPr lang="en-AU" sz="2400" dirty="0" err="1">
                <a:solidFill>
                  <a:schemeClr val="tx1"/>
                </a:solidFill>
              </a:rPr>
              <a:t>ông</a:t>
            </a:r>
            <a:r>
              <a:rPr lang="en-AU" sz="2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4A9814-CB0A-9F4B-8BDD-389A25F2E4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pPr/>
              <a:t>19</a:t>
            </a:fld>
            <a:endParaRPr lang="en-AU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8B8678F-D528-FE41-9474-584AD9E0BF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30/7/20</a:t>
            </a:r>
            <a:endParaRPr lang="en-AU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0E4BFFC-5F4C-C249-9B76-F6735184AE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Ngày 1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287245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5" name="Title 3">
            <a:extLst>
              <a:ext uri="{FF2B5EF4-FFF2-40B4-BE49-F238E27FC236}">
                <a16:creationId xmlns:a16="http://schemas.microsoft.com/office/drawing/2014/main" id="{E374DEFD-D8A9-4C3F-9B5D-0F7A2690190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913774" y="14427"/>
            <a:ext cx="10364451" cy="1596177"/>
          </a:xfrm>
        </p:spPr>
        <p:txBody>
          <a:bodyPr rtlCol="0">
            <a:noAutofit/>
          </a:bodyPr>
          <a:lstStyle/>
          <a:p>
            <a:pPr defTabSz="457207">
              <a:defRPr/>
            </a:pPr>
            <a:r>
              <a:rPr lang="en-US" altLang="en-US" u="sng" dirty="0" err="1">
                <a:solidFill>
                  <a:srgbClr val="222268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Nội</a:t>
            </a:r>
            <a:r>
              <a:rPr lang="en-US" altLang="en-US" u="sng" dirty="0">
                <a:solidFill>
                  <a:srgbClr val="222268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 dung:</a:t>
            </a:r>
          </a:p>
        </p:txBody>
      </p:sp>
      <p:sp>
        <p:nvSpPr>
          <p:cNvPr id="7172" name="Slide Number Placeholder 21">
            <a:extLst>
              <a:ext uri="{FF2B5EF4-FFF2-40B4-BE49-F238E27FC236}">
                <a16:creationId xmlns:a16="http://schemas.microsoft.com/office/drawing/2014/main" id="{88651F14-CFEF-4E2D-B1FE-67D9C863F9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53B7FCA2-96C0-40AD-ACE0-919F5C28F3E3}" type="slidenum">
              <a:rPr lang="en-US" altLang="en-US" sz="1400">
                <a:solidFill>
                  <a:srgbClr val="000000"/>
                </a:solidFill>
                <a:ea typeface="MS PGothic" panose="020B0600070205080204" pitchFamily="34" charset="-128"/>
              </a:rPr>
              <a:pPr>
                <a:spcBef>
                  <a:spcPct val="0"/>
                </a:spcBef>
                <a:buFontTx/>
                <a:buNone/>
              </a:pPr>
              <a:t>2</a:t>
            </a:fld>
            <a:endParaRPr lang="en-US" altLang="en-US" sz="140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grpSp>
        <p:nvGrpSpPr>
          <p:cNvPr id="7173" name="Group 6">
            <a:extLst>
              <a:ext uri="{FF2B5EF4-FFF2-40B4-BE49-F238E27FC236}">
                <a16:creationId xmlns:a16="http://schemas.microsoft.com/office/drawing/2014/main" id="{54DDC5E8-764D-462A-BBD0-0AD4C7A20C72}"/>
              </a:ext>
            </a:extLst>
          </p:cNvPr>
          <p:cNvGrpSpPr>
            <a:grpSpLocks/>
          </p:cNvGrpSpPr>
          <p:nvPr/>
        </p:nvGrpSpPr>
        <p:grpSpPr bwMode="auto">
          <a:xfrm>
            <a:off x="4419600" y="1278379"/>
            <a:ext cx="6249988" cy="4382646"/>
            <a:chOff x="1621293" y="1629013"/>
            <a:chExt cx="6123881" cy="2154236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8ABFB555-91A8-41F2-B9EA-60183992349B}"/>
                </a:ext>
              </a:extLst>
            </p:cNvPr>
            <p:cNvSpPr/>
            <p:nvPr/>
          </p:nvSpPr>
          <p:spPr>
            <a:xfrm>
              <a:off x="2220149" y="3183966"/>
              <a:ext cx="5523469" cy="599283"/>
            </a:xfrm>
            <a:custGeom>
              <a:avLst/>
              <a:gdLst>
                <a:gd name="connsiteX0" fmla="*/ 0 w 5523357"/>
                <a:gd name="connsiteY0" fmla="*/ 0 h 599828"/>
                <a:gd name="connsiteX1" fmla="*/ 5223443 w 5523357"/>
                <a:gd name="connsiteY1" fmla="*/ 0 h 599828"/>
                <a:gd name="connsiteX2" fmla="*/ 5523357 w 5523357"/>
                <a:gd name="connsiteY2" fmla="*/ 299914 h 599828"/>
                <a:gd name="connsiteX3" fmla="*/ 5223443 w 5523357"/>
                <a:gd name="connsiteY3" fmla="*/ 599828 h 599828"/>
                <a:gd name="connsiteX4" fmla="*/ 0 w 5523357"/>
                <a:gd name="connsiteY4" fmla="*/ 599828 h 599828"/>
                <a:gd name="connsiteX5" fmla="*/ 0 w 5523357"/>
                <a:gd name="connsiteY5" fmla="*/ 0 h 599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23357" h="599828">
                  <a:moveTo>
                    <a:pt x="5523357" y="599827"/>
                  </a:moveTo>
                  <a:lnTo>
                    <a:pt x="299914" y="599827"/>
                  </a:lnTo>
                  <a:lnTo>
                    <a:pt x="0" y="299914"/>
                  </a:lnTo>
                  <a:lnTo>
                    <a:pt x="299914" y="1"/>
                  </a:lnTo>
                  <a:lnTo>
                    <a:pt x="5523357" y="1"/>
                  </a:lnTo>
                  <a:lnTo>
                    <a:pt x="5523357" y="599827"/>
                  </a:lnTo>
                  <a:close/>
                </a:path>
              </a:pathLst>
            </a:custGeom>
            <a:ln w="6350"/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414465" tIns="60961" rIns="113792" bIns="60961" anchor="ctr"/>
            <a:lstStyle>
              <a:lvl1pPr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1pPr>
              <a:lvl2pPr marL="742950" indent="-28575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2pPr>
              <a:lvl3pPr marL="1143000" indent="-22860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3pPr>
              <a:lvl4pPr marL="1600200" indent="-22860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4pPr>
              <a:lvl5pPr marL="2057400" indent="-22860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5pPr>
              <a:lvl6pPr marL="25146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6pPr>
              <a:lvl7pPr marL="29718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7pPr>
              <a:lvl8pPr marL="34290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8pPr>
              <a:lvl9pPr marL="38862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Quy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trình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phát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hiện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vào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báo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cáo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tình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huống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trẻ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em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bị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xâm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hại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của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ng</a:t>
              </a:r>
              <a:r>
                <a:rPr lang="vi-VN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ư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ời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làm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CT BVTE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cấp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độ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1</a:t>
              </a:r>
            </a:p>
          </p:txBody>
        </p:sp>
        <p:sp>
          <p:nvSpPr>
            <p:cNvPr id="7176" name="Oval 8">
              <a:extLst>
                <a:ext uri="{FF2B5EF4-FFF2-40B4-BE49-F238E27FC236}">
                  <a16:creationId xmlns:a16="http://schemas.microsoft.com/office/drawing/2014/main" id="{37AD570B-00BE-46C9-AA8B-44CB531AC2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1293" y="1746116"/>
              <a:ext cx="599132" cy="447481"/>
            </a:xfrm>
            <a:prstGeom prst="ellipse">
              <a:avLst/>
            </a:prstGeom>
            <a:blipFill dpi="0" rotWithShape="1">
              <a:blip r:embed="rId3"/>
              <a:srcRect/>
              <a:stretch>
                <a:fillRect/>
              </a:stretch>
            </a:blipFill>
            <a:ln w="6350">
              <a:solidFill>
                <a:srgbClr val="2D2D8A"/>
              </a:solidFill>
              <a:round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en-US" sz="240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FB161E5B-57E0-46C3-B9A0-301B9802BE01}"/>
                </a:ext>
              </a:extLst>
            </p:cNvPr>
            <p:cNvSpPr/>
            <p:nvPr/>
          </p:nvSpPr>
          <p:spPr>
            <a:xfrm>
              <a:off x="2220149" y="1629013"/>
              <a:ext cx="5523469" cy="599283"/>
            </a:xfrm>
            <a:custGeom>
              <a:avLst/>
              <a:gdLst>
                <a:gd name="connsiteX0" fmla="*/ 0 w 5523357"/>
                <a:gd name="connsiteY0" fmla="*/ 0 h 599828"/>
                <a:gd name="connsiteX1" fmla="*/ 5223443 w 5523357"/>
                <a:gd name="connsiteY1" fmla="*/ 0 h 599828"/>
                <a:gd name="connsiteX2" fmla="*/ 5523357 w 5523357"/>
                <a:gd name="connsiteY2" fmla="*/ 299914 h 599828"/>
                <a:gd name="connsiteX3" fmla="*/ 5223443 w 5523357"/>
                <a:gd name="connsiteY3" fmla="*/ 599828 h 599828"/>
                <a:gd name="connsiteX4" fmla="*/ 0 w 5523357"/>
                <a:gd name="connsiteY4" fmla="*/ 599828 h 599828"/>
                <a:gd name="connsiteX5" fmla="*/ 0 w 5523357"/>
                <a:gd name="connsiteY5" fmla="*/ 0 h 599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23357" h="599828">
                  <a:moveTo>
                    <a:pt x="5523357" y="599827"/>
                  </a:moveTo>
                  <a:lnTo>
                    <a:pt x="299914" y="599827"/>
                  </a:lnTo>
                  <a:lnTo>
                    <a:pt x="0" y="299914"/>
                  </a:lnTo>
                  <a:lnTo>
                    <a:pt x="299914" y="1"/>
                  </a:lnTo>
                  <a:lnTo>
                    <a:pt x="5523357" y="1"/>
                  </a:lnTo>
                  <a:lnTo>
                    <a:pt x="5523357" y="599827"/>
                  </a:lnTo>
                  <a:close/>
                </a:path>
              </a:pathLst>
            </a:custGeom>
            <a:ln w="6350"/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414465" tIns="60961" rIns="113792" bIns="60961" anchor="ctr"/>
            <a:lstStyle>
              <a:lvl1pPr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1pPr>
              <a:lvl2pPr marL="742950" indent="-28575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2pPr>
              <a:lvl3pPr marL="1143000" indent="-22860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3pPr>
              <a:lvl4pPr marL="1600200" indent="-22860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4pPr>
              <a:lvl5pPr marL="2057400" indent="-22860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5pPr>
              <a:lvl6pPr marL="25146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6pPr>
              <a:lvl7pPr marL="29718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7pPr>
              <a:lvl8pPr marL="34290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8pPr>
              <a:lvl9pPr marL="38862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altLang="en-US" sz="2400" b="1" dirty="0" err="1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Hệ</a:t>
              </a:r>
              <a:r>
                <a:rPr lang="en-US" altLang="en-US" sz="2400" b="1" dirty="0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thống</a:t>
              </a:r>
              <a:r>
                <a:rPr lang="en-US" altLang="en-US" sz="2400" b="1" dirty="0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BVTE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và</a:t>
              </a:r>
              <a:r>
                <a:rPr lang="en-US" altLang="en-US" sz="2400" b="1" dirty="0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vị</a:t>
              </a:r>
              <a:r>
                <a:rPr lang="en-US" altLang="en-US" sz="2400" b="1" dirty="0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trí</a:t>
              </a:r>
              <a:r>
                <a:rPr lang="en-US" altLang="en-US" sz="2400" b="1" dirty="0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,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vai</a:t>
              </a:r>
              <a:r>
                <a:rPr lang="en-US" altLang="en-US" sz="2400" b="1" dirty="0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trò</a:t>
              </a:r>
              <a:r>
                <a:rPr lang="en-US" altLang="en-US" sz="2400" b="1" dirty="0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của</a:t>
              </a:r>
              <a:r>
                <a:rPr lang="en-US" altLang="en-US" sz="2400" b="1" dirty="0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ng</a:t>
              </a:r>
              <a:r>
                <a:rPr lang="vi-VN" altLang="en-US" sz="2400" b="1" dirty="0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ư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ời</a:t>
              </a:r>
              <a:r>
                <a:rPr lang="en-US" altLang="en-US" sz="2400" b="1" dirty="0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làm</a:t>
              </a:r>
              <a:r>
                <a:rPr lang="en-US" altLang="en-US" sz="2400" b="1" dirty="0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CT BVTE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cấp</a:t>
              </a:r>
              <a:r>
                <a:rPr lang="en-US" altLang="en-US" sz="2400" b="1" dirty="0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độ</a:t>
              </a:r>
              <a:r>
                <a:rPr lang="en-US" altLang="en-US" sz="2400" b="1" dirty="0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1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trong</a:t>
              </a:r>
              <a:r>
                <a:rPr lang="en-US" altLang="en-US" sz="2400" b="1" dirty="0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tr</a:t>
              </a:r>
              <a:r>
                <a:rPr lang="vi-VN" altLang="en-US" sz="2400" b="1" dirty="0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ư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ờng</a:t>
              </a:r>
              <a:r>
                <a:rPr lang="en-US" altLang="en-US" sz="2400" b="1" dirty="0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học</a:t>
              </a:r>
              <a:r>
                <a:rPr lang="en-US" altLang="en-US" sz="2400" b="1" dirty="0">
                  <a:solidFill>
                    <a:srgbClr val="002060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?</a:t>
              </a:r>
            </a:p>
          </p:txBody>
        </p:sp>
        <p:sp>
          <p:nvSpPr>
            <p:cNvPr id="7178" name="Oval 10">
              <a:extLst>
                <a:ext uri="{FF2B5EF4-FFF2-40B4-BE49-F238E27FC236}">
                  <a16:creationId xmlns:a16="http://schemas.microsoft.com/office/drawing/2014/main" id="{4A903C1C-EC60-4E34-9F72-950B5F7B2C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2264" y="2456717"/>
              <a:ext cx="599132" cy="433446"/>
            </a:xfrm>
            <a:prstGeom prst="ellipse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 w="6350">
              <a:solidFill>
                <a:srgbClr val="2D2D8A"/>
              </a:solidFill>
              <a:round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en-US" sz="240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0E2B112F-733A-407A-B565-665CD6E2DD06}"/>
                </a:ext>
              </a:extLst>
            </p:cNvPr>
            <p:cNvSpPr/>
            <p:nvPr/>
          </p:nvSpPr>
          <p:spPr>
            <a:xfrm>
              <a:off x="2221704" y="2373998"/>
              <a:ext cx="5523470" cy="599283"/>
            </a:xfrm>
            <a:custGeom>
              <a:avLst/>
              <a:gdLst>
                <a:gd name="connsiteX0" fmla="*/ 0 w 5523357"/>
                <a:gd name="connsiteY0" fmla="*/ 0 h 599828"/>
                <a:gd name="connsiteX1" fmla="*/ 5223443 w 5523357"/>
                <a:gd name="connsiteY1" fmla="*/ 0 h 599828"/>
                <a:gd name="connsiteX2" fmla="*/ 5523357 w 5523357"/>
                <a:gd name="connsiteY2" fmla="*/ 299914 h 599828"/>
                <a:gd name="connsiteX3" fmla="*/ 5223443 w 5523357"/>
                <a:gd name="connsiteY3" fmla="*/ 599828 h 599828"/>
                <a:gd name="connsiteX4" fmla="*/ 0 w 5523357"/>
                <a:gd name="connsiteY4" fmla="*/ 599828 h 599828"/>
                <a:gd name="connsiteX5" fmla="*/ 0 w 5523357"/>
                <a:gd name="connsiteY5" fmla="*/ 0 h 599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523357" h="599828">
                  <a:moveTo>
                    <a:pt x="5523357" y="599827"/>
                  </a:moveTo>
                  <a:lnTo>
                    <a:pt x="299914" y="599827"/>
                  </a:lnTo>
                  <a:lnTo>
                    <a:pt x="0" y="299914"/>
                  </a:lnTo>
                  <a:lnTo>
                    <a:pt x="299914" y="1"/>
                  </a:lnTo>
                  <a:lnTo>
                    <a:pt x="5523357" y="1"/>
                  </a:lnTo>
                  <a:lnTo>
                    <a:pt x="5523357" y="599827"/>
                  </a:lnTo>
                  <a:close/>
                </a:path>
              </a:pathLst>
            </a:custGeom>
            <a:ln w="6350"/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414465" tIns="60961" rIns="113792" bIns="60960" anchor="ctr"/>
            <a:lstStyle>
              <a:lvl1pPr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1pPr>
              <a:lvl2pPr marL="742950" indent="-28575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2pPr>
              <a:lvl3pPr marL="1143000" indent="-22860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3pPr>
              <a:lvl4pPr marL="1600200" indent="-22860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4pPr>
              <a:lvl5pPr marL="2057400" indent="-228600" defTabSz="7112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5pPr>
              <a:lvl6pPr marL="25146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6pPr>
              <a:lvl7pPr marL="29718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7pPr>
              <a:lvl8pPr marL="34290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8pPr>
              <a:lvl9pPr marL="3886200" indent="-228600" defTabSz="711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Yêu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cầu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về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kiến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thức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,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kỹ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năng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đối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với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ng</a:t>
              </a:r>
              <a:r>
                <a:rPr lang="vi-VN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ư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ời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làm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CT BVTE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cấp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</a:t>
              </a:r>
              <a:r>
                <a:rPr lang="en-US" altLang="en-US" sz="2400" b="1" dirty="0" err="1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độ</a:t>
              </a:r>
              <a:r>
                <a:rPr lang="en-US" altLang="en-US" sz="2400" b="1" dirty="0">
                  <a:solidFill>
                    <a:srgbClr val="222268"/>
                  </a:solidFill>
                  <a:latin typeface="Times New Roman" pitchFamily="18" charset="0"/>
                  <a:ea typeface="MS PGothic" panose="020B0600070205080204" pitchFamily="34" charset="-128"/>
                  <a:cs typeface="Times New Roman" pitchFamily="18" charset="0"/>
                </a:rPr>
                <a:t> 1</a:t>
              </a:r>
            </a:p>
          </p:txBody>
        </p:sp>
        <p:sp>
          <p:nvSpPr>
            <p:cNvPr id="7180" name="Oval 12">
              <a:extLst>
                <a:ext uri="{FF2B5EF4-FFF2-40B4-BE49-F238E27FC236}">
                  <a16:creationId xmlns:a16="http://schemas.microsoft.com/office/drawing/2014/main" id="{5877FE39-FC7E-4B76-A457-513C97E47E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2264" y="3236255"/>
              <a:ext cx="599132" cy="464440"/>
            </a:xfrm>
            <a:prstGeom prst="ellipse">
              <a:avLst/>
            </a:prstGeom>
            <a:blipFill dpi="0" rotWithShape="1">
              <a:blip r:embed="rId5"/>
              <a:srcRect/>
              <a:stretch>
                <a:fillRect/>
              </a:stretch>
            </a:blipFill>
            <a:ln w="6350">
              <a:solidFill>
                <a:srgbClr val="2D2D8A"/>
              </a:solidFill>
              <a:round/>
              <a:headEnd/>
              <a:tailEnd/>
            </a:ln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en-US" sz="240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sp>
        <p:nvSpPr>
          <p:cNvPr id="7174" name="Rectangle 1">
            <a:extLst>
              <a:ext uri="{FF2B5EF4-FFF2-40B4-BE49-F238E27FC236}">
                <a16:creationId xmlns:a16="http://schemas.microsoft.com/office/drawing/2014/main" id="{A825C8FB-496D-48F1-9CFC-B2B8FD74E3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8594" y="2241754"/>
            <a:ext cx="3445412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4000" b="1" dirty="0" err="1">
                <a:solidFill>
                  <a:srgbClr val="222268"/>
                </a:solidFill>
                <a:latin typeface="Times New Roman" pitchFamily="18" charset="0"/>
                <a:ea typeface="MS PGothic" panose="020B0600070205080204" pitchFamily="34" charset="-128"/>
                <a:cs typeface="Times New Roman" pitchFamily="18" charset="0"/>
              </a:rPr>
              <a:t>Năng</a:t>
            </a:r>
            <a:r>
              <a:rPr lang="en-US" altLang="en-US" sz="4000" b="1" dirty="0">
                <a:solidFill>
                  <a:srgbClr val="222268"/>
                </a:solidFill>
                <a:latin typeface="Times New Roman" pitchFamily="18" charset="0"/>
                <a:ea typeface="MS PGothic" panose="020B0600070205080204" pitchFamily="34" charset="-128"/>
                <a:cs typeface="Times New Roman" pitchFamily="18" charset="0"/>
              </a:rPr>
              <a:t> </a:t>
            </a:r>
            <a:r>
              <a:rPr lang="en-US" altLang="en-US" sz="4000" b="1" dirty="0" err="1">
                <a:solidFill>
                  <a:srgbClr val="222268"/>
                </a:solidFill>
                <a:latin typeface="Times New Roman" pitchFamily="18" charset="0"/>
                <a:ea typeface="MS PGothic" panose="020B0600070205080204" pitchFamily="34" charset="-128"/>
                <a:cs typeface="Times New Roman" pitchFamily="18" charset="0"/>
              </a:rPr>
              <a:t>lực</a:t>
            </a:r>
            <a:r>
              <a:rPr lang="en-US" altLang="en-US" sz="4000" b="1" dirty="0">
                <a:solidFill>
                  <a:srgbClr val="222268"/>
                </a:solidFill>
                <a:latin typeface="Times New Roman" pitchFamily="18" charset="0"/>
                <a:ea typeface="MS PGothic" panose="020B0600070205080204" pitchFamily="34" charset="-128"/>
                <a:cs typeface="Times New Roman" pitchFamily="18" charset="0"/>
              </a:rPr>
              <a:t> </a:t>
            </a:r>
            <a:r>
              <a:rPr lang="en-US" altLang="en-US" sz="4000" b="1" dirty="0" err="1">
                <a:solidFill>
                  <a:srgbClr val="222268"/>
                </a:solidFill>
                <a:latin typeface="Times New Roman" pitchFamily="18" charset="0"/>
                <a:ea typeface="MS PGothic" panose="020B0600070205080204" pitchFamily="34" charset="-128"/>
                <a:cs typeface="Times New Roman" pitchFamily="18" charset="0"/>
              </a:rPr>
              <a:t>thực</a:t>
            </a:r>
            <a:r>
              <a:rPr lang="en-US" altLang="en-US" sz="4000" b="1" dirty="0">
                <a:solidFill>
                  <a:srgbClr val="222268"/>
                </a:solidFill>
                <a:latin typeface="Times New Roman" pitchFamily="18" charset="0"/>
                <a:ea typeface="MS PGothic" panose="020B0600070205080204" pitchFamily="34" charset="-128"/>
                <a:cs typeface="Times New Roman" pitchFamily="18" charset="0"/>
              </a:rPr>
              <a:t> </a:t>
            </a:r>
            <a:r>
              <a:rPr lang="en-US" altLang="en-US" sz="4000" b="1" dirty="0" err="1">
                <a:solidFill>
                  <a:srgbClr val="222268"/>
                </a:solidFill>
                <a:latin typeface="Times New Roman" pitchFamily="18" charset="0"/>
                <a:ea typeface="MS PGothic" panose="020B0600070205080204" pitchFamily="34" charset="-128"/>
                <a:cs typeface="Times New Roman" pitchFamily="18" charset="0"/>
              </a:rPr>
              <a:t>hành</a:t>
            </a:r>
            <a:r>
              <a:rPr lang="en-US" altLang="en-US" sz="4000" b="1" dirty="0">
                <a:solidFill>
                  <a:srgbClr val="222268"/>
                </a:solidFill>
                <a:latin typeface="Times New Roman" pitchFamily="18" charset="0"/>
                <a:ea typeface="MS PGothic" panose="020B0600070205080204" pitchFamily="34" charset="-128"/>
                <a:cs typeface="Times New Roman" pitchFamily="18" charset="0"/>
              </a:rPr>
              <a:t> BVTE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4000" b="1" dirty="0" err="1">
                <a:solidFill>
                  <a:srgbClr val="222268"/>
                </a:solidFill>
                <a:latin typeface="Times New Roman" pitchFamily="18" charset="0"/>
                <a:ea typeface="MS PGothic" panose="020B0600070205080204" pitchFamily="34" charset="-128"/>
                <a:cs typeface="Times New Roman" pitchFamily="18" charset="0"/>
              </a:rPr>
              <a:t>cấp</a:t>
            </a:r>
            <a:r>
              <a:rPr lang="en-US" altLang="en-US" sz="4000" b="1" dirty="0">
                <a:solidFill>
                  <a:srgbClr val="222268"/>
                </a:solidFill>
                <a:latin typeface="Times New Roman" pitchFamily="18" charset="0"/>
                <a:ea typeface="MS PGothic" panose="020B0600070205080204" pitchFamily="34" charset="-128"/>
                <a:cs typeface="Times New Roman" pitchFamily="18" charset="0"/>
              </a:rPr>
              <a:t> </a:t>
            </a:r>
            <a:r>
              <a:rPr lang="en-US" altLang="en-US" sz="4000" b="1" dirty="0" err="1">
                <a:solidFill>
                  <a:srgbClr val="222268"/>
                </a:solidFill>
                <a:latin typeface="Times New Roman" pitchFamily="18" charset="0"/>
                <a:ea typeface="MS PGothic" panose="020B0600070205080204" pitchFamily="34" charset="-128"/>
                <a:cs typeface="Times New Roman" pitchFamily="18" charset="0"/>
              </a:rPr>
              <a:t>độ</a:t>
            </a:r>
            <a:r>
              <a:rPr lang="en-US" altLang="en-US" sz="4000" b="1" dirty="0">
                <a:solidFill>
                  <a:srgbClr val="222268"/>
                </a:solidFill>
                <a:latin typeface="Times New Roman" pitchFamily="18" charset="0"/>
                <a:ea typeface="MS PGothic" panose="020B0600070205080204" pitchFamily="34" charset="-128"/>
                <a:cs typeface="Times New Roman" pitchFamily="18" charset="0"/>
              </a:rPr>
              <a:t> 1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311F8A-2D94-D54D-B360-490209FB05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6"/>
            <a:ext cx="12192000" cy="654206"/>
          </a:xfrm>
        </p:spPr>
        <p:txBody>
          <a:bodyPr>
            <a:noAutofit/>
          </a:bodyPr>
          <a:lstStyle/>
          <a:p>
            <a:pPr algn="ctr"/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4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khía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ạnh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ảnh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hưởng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nhu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ầu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hăm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só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đáp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ứng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phù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hay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không</a:t>
            </a:r>
            <a:endParaRPr lang="en-AU" sz="3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D6067A8-03DC-AF42-A872-717A1ED7B9C2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-134911" y="1439056"/>
          <a:ext cx="12326911" cy="5291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87E27EAC-31C8-8C4E-B771-FC04360DFACE}"/>
              </a:ext>
            </a:extLst>
          </p:cNvPr>
          <p:cNvSpPr/>
          <p:nvPr/>
        </p:nvSpPr>
        <p:spPr>
          <a:xfrm>
            <a:off x="8139659" y="1439056"/>
            <a:ext cx="3822491" cy="4946754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ặc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ính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ảnh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ưởng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hất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lượng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môi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ường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hăm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óc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uả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quyết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liệu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một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hu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ầu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hăm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óc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áp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ứng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guy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ơ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ị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hay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endParaRPr lang="en-AU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AC230B-80C4-A243-A102-4CD1B1D02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pPr/>
              <a:t>20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3659354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931" y="131317"/>
            <a:ext cx="12087069" cy="383918"/>
          </a:xfrm>
        </p:spPr>
        <p:txBody>
          <a:bodyPr>
            <a:noAutofit/>
          </a:bodyPr>
          <a:lstStyle/>
          <a:p>
            <a:pPr algn="ctr"/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Hiểm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hoạ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hế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kỷ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21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em</a:t>
            </a:r>
            <a:endParaRPr lang="en-US" sz="3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86922427"/>
              </p:ext>
            </p:extLst>
          </p:nvPr>
        </p:nvGraphicFramePr>
        <p:xfrm>
          <a:off x="0" y="658557"/>
          <a:ext cx="12192000" cy="60681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1E30D6F-8298-B245-9958-2991000689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pPr/>
              <a:t>2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94711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Graphic spid="4" grpId="0">
        <p:bldAsOne/>
      </p:bldGraphic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920" y="115638"/>
            <a:ext cx="12072079" cy="775916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vấn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đề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ở TK21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kết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guy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ơ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đa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ồn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ạ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endParaRPr lang="en-US" sz="3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119921" y="891555"/>
          <a:ext cx="12072079" cy="58508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F5F509-26F7-8D47-8C3D-7DABAAD1CA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pPr/>
              <a:t>2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3601808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E37C95C7-85BA-4096-8B1B-85076C35ED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3775" y="511277"/>
            <a:ext cx="10364452" cy="5279923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en-US" sz="4000" b="1" dirty="0"/>
          </a:p>
          <a:p>
            <a:pPr marL="0" indent="0" algn="ctr">
              <a:buNone/>
            </a:pPr>
            <a:r>
              <a:rPr lang="vi-VN" sz="4000" b="1" dirty="0" err="1">
                <a:latin typeface="+mj-lt"/>
              </a:rPr>
              <a:t>Liệu</a:t>
            </a:r>
            <a:r>
              <a:rPr lang="vi-VN" sz="4000" b="1" dirty="0">
                <a:latin typeface="+mj-lt"/>
              </a:rPr>
              <a:t> trong </a:t>
            </a:r>
            <a:r>
              <a:rPr lang="vi-VN" sz="4000" b="1" dirty="0" err="1">
                <a:latin typeface="+mj-lt"/>
              </a:rPr>
              <a:t>trường</a:t>
            </a:r>
            <a:r>
              <a:rPr lang="vi-VN" sz="4000" b="1" dirty="0">
                <a:latin typeface="+mj-lt"/>
              </a:rPr>
              <a:t> </a:t>
            </a:r>
            <a:r>
              <a:rPr lang="vi-VN" sz="4000" b="1" dirty="0" err="1">
                <a:latin typeface="+mj-lt"/>
              </a:rPr>
              <a:t>hợp</a:t>
            </a:r>
            <a:r>
              <a:rPr lang="vi-VN" sz="4000" b="1" dirty="0">
                <a:latin typeface="+mj-lt"/>
              </a:rPr>
              <a:t> </a:t>
            </a:r>
            <a:r>
              <a:rPr lang="vi-VN" sz="4000" b="1" dirty="0" err="1">
                <a:latin typeface="+mj-lt"/>
              </a:rPr>
              <a:t>này</a:t>
            </a:r>
            <a:r>
              <a:rPr lang="vi-VN" sz="4000" b="1" dirty="0">
                <a:latin typeface="+mj-lt"/>
              </a:rPr>
              <a:t> </a:t>
            </a:r>
            <a:r>
              <a:rPr lang="vi-VN" sz="4000" b="1" dirty="0" err="1">
                <a:latin typeface="+mj-lt"/>
              </a:rPr>
              <a:t>có</a:t>
            </a:r>
            <a:r>
              <a:rPr lang="vi-VN" sz="4000" b="1" dirty="0">
                <a:latin typeface="+mj-lt"/>
              </a:rPr>
              <a:t> </a:t>
            </a:r>
            <a:r>
              <a:rPr lang="vi-VN" sz="4000" b="1" dirty="0" err="1">
                <a:latin typeface="+mj-lt"/>
              </a:rPr>
              <a:t>điều</a:t>
            </a:r>
            <a:r>
              <a:rPr lang="vi-VN" sz="4000" b="1" dirty="0">
                <a:latin typeface="+mj-lt"/>
              </a:rPr>
              <a:t> </a:t>
            </a:r>
            <a:r>
              <a:rPr lang="vi-VN" sz="4000" b="1" dirty="0" err="1">
                <a:latin typeface="+mj-lt"/>
              </a:rPr>
              <a:t>gì</a:t>
            </a:r>
            <a:r>
              <a:rPr lang="vi-VN" sz="4000" b="1" dirty="0">
                <a:latin typeface="+mj-lt"/>
              </a:rPr>
              <a:t> “không </a:t>
            </a:r>
            <a:r>
              <a:rPr lang="vi-VN" sz="4000" b="1" dirty="0" err="1">
                <a:latin typeface="+mj-lt"/>
              </a:rPr>
              <a:t>ổn</a:t>
            </a:r>
            <a:r>
              <a:rPr lang="vi-VN" sz="4000" b="1" dirty="0">
                <a:latin typeface="+mj-lt"/>
              </a:rPr>
              <a:t>” </a:t>
            </a:r>
            <a:r>
              <a:rPr lang="vi-VN" sz="4000" b="1" dirty="0" err="1">
                <a:latin typeface="+mj-lt"/>
              </a:rPr>
              <a:t>đối</a:t>
            </a:r>
            <a:r>
              <a:rPr lang="vi-VN" sz="4000" b="1" dirty="0">
                <a:latin typeface="+mj-lt"/>
              </a:rPr>
              <a:t> </a:t>
            </a:r>
            <a:r>
              <a:rPr lang="vi-VN" sz="4000" b="1" dirty="0" err="1">
                <a:latin typeface="+mj-lt"/>
              </a:rPr>
              <a:t>với</a:t>
            </a:r>
            <a:r>
              <a:rPr lang="vi-VN" sz="4000" b="1" dirty="0">
                <a:latin typeface="+mj-lt"/>
              </a:rPr>
              <a:t> </a:t>
            </a:r>
            <a:r>
              <a:rPr lang="vi-VN" sz="4000" b="1" dirty="0" err="1">
                <a:latin typeface="+mj-lt"/>
              </a:rPr>
              <a:t>sự</a:t>
            </a:r>
            <a:r>
              <a:rPr lang="vi-VN" sz="4000" b="1" dirty="0">
                <a:latin typeface="+mj-lt"/>
              </a:rPr>
              <a:t> </a:t>
            </a:r>
            <a:r>
              <a:rPr lang="vi-VN" sz="4000" b="1" dirty="0" err="1">
                <a:latin typeface="+mj-lt"/>
              </a:rPr>
              <a:t>phát</a:t>
            </a:r>
            <a:r>
              <a:rPr lang="vi-VN" sz="4000" b="1" dirty="0">
                <a:latin typeface="+mj-lt"/>
              </a:rPr>
              <a:t> </a:t>
            </a:r>
            <a:r>
              <a:rPr lang="vi-VN" sz="4000" b="1" dirty="0" err="1">
                <a:latin typeface="+mj-lt"/>
              </a:rPr>
              <a:t>triển</a:t>
            </a:r>
            <a:r>
              <a:rPr lang="vi-VN" sz="4000" b="1" dirty="0">
                <a:latin typeface="+mj-lt"/>
              </a:rPr>
              <a:t> </a:t>
            </a:r>
            <a:r>
              <a:rPr lang="vi-VN" sz="4000" b="1" dirty="0" err="1">
                <a:latin typeface="+mj-lt"/>
              </a:rPr>
              <a:t>lành</a:t>
            </a:r>
            <a:r>
              <a:rPr lang="vi-VN" sz="4000" b="1" dirty="0">
                <a:latin typeface="+mj-lt"/>
              </a:rPr>
              <a:t> </a:t>
            </a:r>
            <a:r>
              <a:rPr lang="vi-VN" sz="4000" b="1" dirty="0" err="1">
                <a:latin typeface="+mj-lt"/>
              </a:rPr>
              <a:t>mạnh</a:t>
            </a:r>
            <a:r>
              <a:rPr lang="vi-VN" sz="4000" b="1" dirty="0">
                <a:latin typeface="+mj-lt"/>
              </a:rPr>
              <a:t> </a:t>
            </a:r>
            <a:r>
              <a:rPr lang="vi-VN" sz="4000" b="1" dirty="0" err="1">
                <a:latin typeface="+mj-lt"/>
              </a:rPr>
              <a:t>của</a:t>
            </a:r>
            <a:r>
              <a:rPr lang="vi-VN" sz="4000" b="1" dirty="0">
                <a:latin typeface="+mj-lt"/>
              </a:rPr>
              <a:t> </a:t>
            </a:r>
            <a:r>
              <a:rPr lang="vi-VN" sz="4000" b="1" dirty="0" err="1">
                <a:latin typeface="+mj-lt"/>
              </a:rPr>
              <a:t>trẻ</a:t>
            </a:r>
            <a:r>
              <a:rPr lang="vi-VN" sz="4000" b="1" dirty="0">
                <a:latin typeface="+mj-lt"/>
              </a:rPr>
              <a:t> hay không?</a:t>
            </a:r>
            <a:endParaRPr lang="en-US" sz="4000" dirty="0">
              <a:latin typeface="+mj-lt"/>
            </a:endParaRPr>
          </a:p>
          <a:p>
            <a:pPr algn="ctr"/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11971317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0" y="-225183"/>
          <a:ext cx="12192000" cy="7481299"/>
        </p:xfrm>
        <a:graphic>
          <a:graphicData uri="http://schemas.openxmlformats.org/drawingml/2006/table">
            <a:tbl>
              <a:tblPr firstRow="1" bandRow="1">
                <a:tableStyleId>{35758FB7-9AC5-4552-8A53-C91805E547FA}</a:tableStyleId>
              </a:tblPr>
              <a:tblGrid>
                <a:gridCol w="15162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6757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0419">
                <a:tc>
                  <a:txBody>
                    <a:bodyPr/>
                    <a:lstStyle/>
                    <a:p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Nhu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cầu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CS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Chỉ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báo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phát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riển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văn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hoá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an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sinh</a:t>
                      </a:r>
                      <a:endParaRPr lang="en-US" sz="18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8264">
                <a:tc>
                  <a:txBody>
                    <a:bodyPr/>
                    <a:lstStyle/>
                    <a:p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hăm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sóc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hất</a:t>
                      </a:r>
                      <a:endParaRPr lang="en-US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1. 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Sự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phá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iể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ướ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ơ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iê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uẩ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u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iệ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Nam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 2. 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ô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ho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ạ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d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ạ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– da,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ó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, ...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3. 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hô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ế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ươ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ê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ơ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(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hô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phả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do tai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ạ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gây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ra)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4. 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iề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hiể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ộ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ơ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ì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uổ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l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ặ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ất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 5.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ô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ườ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ă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só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ủ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iề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à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í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,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ở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,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quầ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á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á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ứ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ượ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ầ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ă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só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ặ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ấ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</a:t>
                      </a:r>
                      <a:endParaRPr lang="en-US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35271">
                <a:tc>
                  <a:txBody>
                    <a:bodyPr/>
                    <a:lstStyle/>
                    <a:p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hăm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sóc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âm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lý</a:t>
                      </a:r>
                      <a:endParaRPr lang="en-US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baseline="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hả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á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ộ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uổ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o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iệ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iể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ả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â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ình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2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hả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á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ộ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uổ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o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iệ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iể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giá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ị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ả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ân</a:t>
                      </a:r>
                      <a:endParaRPr kumimoji="0" lang="en-US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3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hả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á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ộ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uổ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o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iệ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iể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l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ả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â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ư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con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duy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ấ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riê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iệ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</a:t>
                      </a: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4.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ượ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ô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iệ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con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(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ự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ứ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)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5. 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ượ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ô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iệ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giá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ị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ả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â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ư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con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duy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ấ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riê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iệ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(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ự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x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ị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giá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ị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)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6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ượ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ô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iệ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l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ả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â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ì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(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ự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x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ị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l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)</a:t>
                      </a:r>
                      <a:endParaRPr lang="en-US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A6D261-988F-0146-9AC0-D219E00848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pPr/>
              <a:t>24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92007020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97221022"/>
              </p:ext>
            </p:extLst>
          </p:nvPr>
        </p:nvGraphicFramePr>
        <p:xfrm>
          <a:off x="0" y="0"/>
          <a:ext cx="12192000" cy="7523808"/>
        </p:xfrm>
        <a:graphic>
          <a:graphicData uri="http://schemas.openxmlformats.org/drawingml/2006/table">
            <a:tbl>
              <a:tblPr firstRow="1" bandRow="1">
                <a:tableStyleId>{35758FB7-9AC5-4552-8A53-C91805E547FA}</a:tableStyleId>
              </a:tblPr>
              <a:tblGrid>
                <a:gridCol w="14005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7914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9434">
                <a:tc>
                  <a:txBody>
                    <a:bodyPr/>
                    <a:lstStyle/>
                    <a:p>
                      <a:r>
                        <a:rPr lang="en-US" sz="1800" b="1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Nhu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cầu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chăm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sóc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Chỉ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báo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phát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riển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văn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hoá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an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sinh</a:t>
                      </a:r>
                      <a:endParaRPr lang="en-US" sz="18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75684">
                <a:tc>
                  <a:txBody>
                    <a:bodyPr/>
                    <a:lstStyle/>
                    <a:p>
                      <a:r>
                        <a:rPr lang="en-US" sz="1800" baseline="0" dirty="0" err="1">
                          <a:latin typeface="Times New Roman" pitchFamily="18" charset="0"/>
                          <a:cs typeface="Times New Roman" pitchFamily="18" charset="0"/>
                        </a:rPr>
                        <a:t>Chăm</a:t>
                      </a:r>
                      <a:r>
                        <a:rPr lang="en-US" sz="1800" baseline="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baseline="0" dirty="0" err="1">
                          <a:latin typeface="Times New Roman" pitchFamily="18" charset="0"/>
                          <a:cs typeface="Times New Roman" pitchFamily="18" charset="0"/>
                        </a:rPr>
                        <a:t>sóc</a:t>
                      </a:r>
                      <a:r>
                        <a:rPr lang="en-US" sz="1800" baseline="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baseline="0" dirty="0" err="1">
                          <a:latin typeface="Times New Roman" pitchFamily="18" charset="0"/>
                          <a:cs typeface="Times New Roman" pitchFamily="18" charset="0"/>
                        </a:rPr>
                        <a:t>cảm</a:t>
                      </a:r>
                      <a:r>
                        <a:rPr lang="en-US" sz="1800" baseline="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baseline="0" dirty="0" err="1">
                          <a:latin typeface="Times New Roman" pitchFamily="18" charset="0"/>
                          <a:cs typeface="Times New Roman" pitchFamily="18" charset="0"/>
                        </a:rPr>
                        <a:t>xúc</a:t>
                      </a:r>
                      <a:endParaRPr lang="en-US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1. 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gắ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ả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xú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í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ấ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1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,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á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ứ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ả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xú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qua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lạ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á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ực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2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h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gắ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ả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xú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ai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ì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cam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ế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ặ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ạ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ứ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endParaRPr kumimoji="0" lang="en-US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3. 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à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vi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gắ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ả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xú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á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ủ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ộ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gắ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4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gắ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ả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xú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í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oặ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lớ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h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ì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iế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iệ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ă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só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ặ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ả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xú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à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vi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á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ứ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ầ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044">
                <a:tc>
                  <a:txBody>
                    <a:bodyPr/>
                    <a:lstStyle/>
                    <a:p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hăm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sóc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hận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hức</a:t>
                      </a:r>
                      <a:endParaRPr lang="en-US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1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ượ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số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o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ô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ườ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ă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só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ặ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ì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ả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ọ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ậ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2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ượ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số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o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ô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ườ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ă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só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ượ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ạ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ơ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ộ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ọ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uy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duy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ức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3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vi-VN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 đi học đều đặn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 4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iệ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ọ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ượ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xe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ọ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,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ỗ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ợ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huyế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h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ở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à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iê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o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ô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ườ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ă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sóc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sự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phá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iể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l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ọ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ậ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ứ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ộ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uổ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/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l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e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ộ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uổi</a:t>
                      </a:r>
                      <a:endParaRPr lang="en-US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2CBD7C5-8CF2-1E41-8E1B-4D637EF8C1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pPr/>
              <a:t>25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4797034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0" y="104936"/>
          <a:ext cx="12192000" cy="6911719"/>
        </p:xfrm>
        <a:graphic>
          <a:graphicData uri="http://schemas.openxmlformats.org/drawingml/2006/table">
            <a:tbl>
              <a:tblPr firstRow="1" bandRow="1">
                <a:tableStyleId>{35758FB7-9AC5-4552-8A53-C91805E547FA}</a:tableStyleId>
              </a:tblPr>
              <a:tblGrid>
                <a:gridCol w="16626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5293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1426">
                <a:tc>
                  <a:txBody>
                    <a:bodyPr/>
                    <a:lstStyle/>
                    <a:p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Nhu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cầu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chăm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sóc</a:t>
                      </a:r>
                      <a:endParaRPr lang="en-US" sz="18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Chỉ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báo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phát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riển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văn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hoá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18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an </a:t>
                      </a:r>
                      <a:r>
                        <a:rPr lang="en-US" sz="18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sinh</a:t>
                      </a:r>
                      <a:endParaRPr lang="en-US" sz="18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91270">
                <a:tc>
                  <a:txBody>
                    <a:bodyPr/>
                    <a:lstStyle/>
                    <a:p>
                      <a:r>
                        <a:rPr lang="en-US" sz="1800" baseline="0" dirty="0" err="1">
                          <a:latin typeface="Times New Roman" pitchFamily="18" charset="0"/>
                          <a:cs typeface="Times New Roman" pitchFamily="18" charset="0"/>
                        </a:rPr>
                        <a:t>Chăm</a:t>
                      </a:r>
                      <a:r>
                        <a:rPr lang="en-US" sz="1800" baseline="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baseline="0" dirty="0" err="1">
                          <a:latin typeface="Times New Roman" pitchFamily="18" charset="0"/>
                          <a:cs typeface="Times New Roman" pitchFamily="18" charset="0"/>
                        </a:rPr>
                        <a:t>sóc</a:t>
                      </a:r>
                      <a:r>
                        <a:rPr lang="en-US" sz="1800" baseline="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baseline="0" dirty="0" err="1">
                          <a:latin typeface="Times New Roman" pitchFamily="18" charset="0"/>
                          <a:cs typeface="Times New Roman" pitchFamily="18" charset="0"/>
                        </a:rPr>
                        <a:t>xã</a:t>
                      </a:r>
                      <a:r>
                        <a:rPr lang="en-US" sz="1800" baseline="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baseline="0" dirty="0" err="1">
                          <a:latin typeface="Times New Roman" pitchFamily="18" charset="0"/>
                          <a:cs typeface="Times New Roman" pitchFamily="18" charset="0"/>
                        </a:rPr>
                        <a:t>hội</a:t>
                      </a:r>
                      <a:endParaRPr lang="en-US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 1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l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phầ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ô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ườ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gi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ì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/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ọ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à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ơ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ạ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ì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ẫ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ứ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ả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â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ư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l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à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iê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ộ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ồ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</a:t>
                      </a: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2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l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phầ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ô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ườ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ă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oá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,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ơ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u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ấ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ì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ẫ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a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ò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xã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ộ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giú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ấy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ì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l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à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iê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ộ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ồ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 3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ă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gắ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ế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ươ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xã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ộ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ộ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uổ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ó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xã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ộ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l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à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iê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</a:t>
                      </a: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 4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ứ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uâ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ủ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ộ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á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ộ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uổ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ố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yê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ầ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ứ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xử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xã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ộ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o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ô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ườ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xã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ộ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a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gi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</a:t>
                      </a:r>
                      <a:endParaRPr kumimoji="0" lang="en-US" sz="1800" i="1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369">
                <a:tc>
                  <a:txBody>
                    <a:bodyPr/>
                    <a:lstStyle/>
                    <a:p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hăm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sóc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đạo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đức</a:t>
                      </a:r>
                      <a:endParaRPr lang="en-US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 1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iể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iết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ộ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uổ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à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vi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ấ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ượ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khô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ấ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ậ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ượ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o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xã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ội</a:t>
                      </a:r>
                      <a:endParaRPr kumimoji="0" lang="en-US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 2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ì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ẫ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íc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a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ò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ạ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ứ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o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ô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ườ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ă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só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ủa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mình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 3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ăm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só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sẵ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sà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giú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á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à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vi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ứ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xử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ạ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ứ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lý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do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ự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iệ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à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vi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ày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 </a:t>
                      </a:r>
                    </a:p>
                    <a:p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i="1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sz="1800" i="1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4</a:t>
                      </a:r>
                      <a:endParaRPr kumimoji="0" lang="en-AU" sz="1800" kern="1200" dirty="0">
                        <a:solidFill>
                          <a:schemeClr val="dk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ó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uân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hủ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những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quy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ịnh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à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yê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cầu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ạo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ức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phù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hợp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độ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1800" kern="1200" dirty="0" err="1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tuổi</a:t>
                      </a:r>
                      <a:r>
                        <a:rPr kumimoji="0" lang="en-US" sz="1800" kern="1200" dirty="0">
                          <a:solidFill>
                            <a:schemeClr val="dk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.</a:t>
                      </a:r>
                      <a:r>
                        <a:rPr lang="en-AU" sz="18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en-US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556049C-FF3D-3742-BA89-F29F2D8E0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pPr/>
              <a:t>26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14023555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E74A24-EA74-5043-B101-8517BF80C0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3775" y="1212113"/>
            <a:ext cx="10364452" cy="457908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en-AU" sz="4000" dirty="0"/>
          </a:p>
          <a:p>
            <a:pPr marL="0" indent="0" algn="ctr">
              <a:buNone/>
            </a:pPr>
            <a:r>
              <a:rPr lang="en-US" sz="4000" dirty="0">
                <a:latin typeface="Times New Roman" pitchFamily="18" charset="0"/>
                <a:cs typeface="Times New Roman" pitchFamily="18" charset="0"/>
              </a:rPr>
              <a:t>XÂM HẠI TRẺ EM VÀ VAI TRÒ CỦA </a:t>
            </a:r>
          </a:p>
          <a:p>
            <a:pPr marL="0" indent="0" algn="ctr">
              <a:buNone/>
            </a:pPr>
            <a:r>
              <a:rPr lang="en-US" sz="4000" dirty="0">
                <a:latin typeface="Times New Roman" pitchFamily="18" charset="0"/>
                <a:cs typeface="Times New Roman" pitchFamily="18" charset="0"/>
              </a:rPr>
              <a:t>TR</a:t>
            </a:r>
            <a:r>
              <a:rPr lang="vi-VN" sz="4000" dirty="0">
                <a:latin typeface="Times New Roman" pitchFamily="18" charset="0"/>
                <a:cs typeface="Times New Roman" pitchFamily="18" charset="0"/>
              </a:rPr>
              <a:t>Ư</a:t>
            </a:r>
            <a:r>
              <a:rPr lang="en-US" sz="4000" dirty="0">
                <a:latin typeface="Times New Roman" pitchFamily="18" charset="0"/>
                <a:cs typeface="Times New Roman" pitchFamily="18" charset="0"/>
              </a:rPr>
              <a:t>ỜNG HỌC</a:t>
            </a:r>
            <a:endParaRPr lang="en-AU" sz="4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9633C4-2706-4441-9F0D-FE3CD75989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pPr/>
              <a:t>27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6303502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94D15C7A-2AC0-466B-A977-48B24E9DBB59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062162" y="0"/>
            <a:ext cx="8067675" cy="885825"/>
          </a:xfrm>
        </p:spPr>
        <p:txBody>
          <a:bodyPr/>
          <a:lstStyle/>
          <a:p>
            <a:pPr defTabSz="457200"/>
            <a:r>
              <a:rPr lang="en-US" altLang="en-US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US" altLang="en-US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US" altLang="en-US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US" altLang="en-US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em</a:t>
            </a:r>
            <a:r>
              <a:rPr lang="en-US" altLang="en-US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US" altLang="en-US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dirty="0" err="1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gì</a:t>
            </a:r>
            <a:r>
              <a:rPr lang="en-US" altLang="en-US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?</a:t>
            </a:r>
            <a:endParaRPr lang="en-US" altLang="en-US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4C22ACD0-C43E-4C92-B0DB-6A03525622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092201"/>
            <a:ext cx="12192000" cy="5597357"/>
          </a:xfrm>
        </p:spPr>
        <p:txBody>
          <a:bodyPr rtlCol="0">
            <a:normAutofit/>
          </a:bodyPr>
          <a:lstStyle/>
          <a:p>
            <a:pPr marL="342906" indent="-342906" algn="just" defTabSz="457207">
              <a:buClr>
                <a:schemeClr val="bg2">
                  <a:lumMod val="40000"/>
                  <a:lumOff val="60000"/>
                </a:schemeClr>
              </a:buClr>
              <a:buFont typeface="Wingdings 3" charset="2"/>
              <a:buChar char=""/>
              <a:defRPr/>
            </a:pPr>
            <a:r>
              <a:rPr lang="en-US" dirty="0">
                <a:latin typeface="Times New Roman" pitchFamily="18" charset="0"/>
                <a:cs typeface="Times New Roman" pitchFamily="18" charset="0"/>
              </a:rPr>
              <a:t>A.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hành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vi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gây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ổn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hể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chất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ình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cảm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âm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lý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danh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dự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nhân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phẩm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em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dưới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hình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hứ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bạo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lự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bó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lột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ình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dụ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mua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bán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bỏ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rơi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bỏ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mặ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em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hình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hứ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gây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ổn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khá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342906" indent="-342906" algn="just" defTabSz="457207">
              <a:buClr>
                <a:schemeClr val="bg2">
                  <a:lumMod val="40000"/>
                  <a:lumOff val="60000"/>
                </a:schemeClr>
              </a:buClr>
              <a:buFont typeface="Wingdings 3" charset="2"/>
              <a:buChar char=""/>
              <a:defRPr/>
            </a:pPr>
            <a:r>
              <a:rPr lang="en-US" dirty="0">
                <a:latin typeface="Times New Roman" pitchFamily="18" charset="0"/>
                <a:cs typeface="Times New Roman" pitchFamily="18" charset="0"/>
              </a:rPr>
              <a:t>B.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dù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vũ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lự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đe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dọa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dù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vũ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lự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ép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buộ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lôi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kéo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dụ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dỗ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em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ham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gia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vào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hành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vi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vi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phạm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pháp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luật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. </a:t>
            </a:r>
          </a:p>
          <a:p>
            <a:pPr marL="342906" indent="-342906" algn="just" defTabSz="457207">
              <a:buClr>
                <a:schemeClr val="bg2">
                  <a:lumMod val="40000"/>
                  <a:lumOff val="60000"/>
                </a:schemeClr>
              </a:buClr>
              <a:buFont typeface="Wingdings 3" charset="2"/>
              <a:buChar char=""/>
              <a:defRPr/>
            </a:pPr>
            <a:r>
              <a:rPr lang="en-US" dirty="0">
                <a:latin typeface="Times New Roman" pitchFamily="18" charset="0"/>
                <a:cs typeface="Times New Roman" pitchFamily="18" charset="0"/>
              </a:rPr>
              <a:t>C.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mọi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hành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vi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ngượ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đãi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hể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chất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inh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hần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ình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dụ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xao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nhã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bó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lột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gây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ra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ổn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hươ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sứ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khỏe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ính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mạ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khả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nă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phát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riển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hay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phẩm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giá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bằ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cách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lợi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dụ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chứ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phận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lò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quyền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hạn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342906" indent="-342906" algn="just" defTabSz="457207">
              <a:buClr>
                <a:schemeClr val="bg2">
                  <a:lumMod val="40000"/>
                  <a:lumOff val="60000"/>
                </a:schemeClr>
              </a:buClr>
              <a:buFont typeface="Wingdings 3" charset="2"/>
              <a:buChar char=""/>
              <a:defRPr/>
            </a:pPr>
            <a:r>
              <a:rPr lang="en-US" dirty="0">
                <a:latin typeface="Times New Roman" pitchFamily="18" charset="0"/>
                <a:cs typeface="Times New Roman" pitchFamily="18" charset="0"/>
              </a:rPr>
              <a:t>D.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ất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cả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đáp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án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rên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đều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đú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28401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4" y="136525"/>
            <a:ext cx="11572874" cy="869465"/>
          </a:xfrm>
        </p:spPr>
        <p:txBody>
          <a:bodyPr>
            <a:normAutofit fontScale="90000"/>
          </a:bodyPr>
          <a:lstStyle/>
          <a:p>
            <a:pPr algn="ctr">
              <a:lnSpc>
                <a:spcPct val="100000"/>
              </a:lnSpc>
            </a:pP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em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Xảy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ra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hư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hế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ào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?</a:t>
            </a:r>
            <a:br>
              <a:rPr lang="en-US" sz="3200" dirty="0">
                <a:latin typeface="Times New Roman" pitchFamily="18" charset="0"/>
                <a:cs typeface="Times New Roman" pitchFamily="18" charset="0"/>
              </a:rPr>
            </a:b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qua 2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hóm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hành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vi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100013" y="1157289"/>
          <a:ext cx="12091987" cy="57877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97818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AA41E9-9DE3-6547-9DAF-99E15D2927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023" y="219918"/>
            <a:ext cx="12110977" cy="6551271"/>
          </a:xfrm>
        </p:spPr>
        <p:txBody>
          <a:bodyPr/>
          <a:lstStyle/>
          <a:p>
            <a:pPr marL="0" indent="0" algn="ctr">
              <a:buNone/>
            </a:pPr>
            <a:endParaRPr lang="en-A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endParaRPr lang="en-A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endParaRPr lang="en-AU" sz="5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Tại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sao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cần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quan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tâm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tới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việc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indent="0" algn="ctr">
              <a:buNone/>
            </a:pP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Bảo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vệ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trẻ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5400" dirty="0" err="1"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AU" sz="540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995646A-18B3-A940-92ED-B151F2408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pPr/>
              <a:t>3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878691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BD8912E9-EE49-4945-B2FB-F099515A954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89" r="14811" b="-1"/>
          <a:stretch/>
        </p:blipFill>
        <p:spPr bwMode="auto">
          <a:xfrm>
            <a:off x="20" y="10"/>
            <a:ext cx="12191980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êu đề 1">
            <a:extLst>
              <a:ext uri="{FF2B5EF4-FFF2-40B4-BE49-F238E27FC236}">
                <a16:creationId xmlns:a16="http://schemas.microsoft.com/office/drawing/2014/main" id="{F78A8910-716C-4577-B17C-1CD335882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1012" y="1300785"/>
            <a:ext cx="8689976" cy="2509213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en-US" sz="4800" dirty="0">
                <a:latin typeface="Times New Roman" pitchFamily="18" charset="0"/>
                <a:cs typeface="Times New Roman" pitchFamily="18" charset="0"/>
              </a:rPr>
              <a:t>AI CÓ THỂ LÀ NGƯỜI XÂM HẠI </a:t>
            </a:r>
            <a:r>
              <a:rPr lang="en-US" altLang="en-US" sz="48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US" altLang="en-US" sz="4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4800" dirty="0" err="1">
                <a:latin typeface="Times New Roman" pitchFamily="18" charset="0"/>
                <a:cs typeface="Times New Roman" pitchFamily="18" charset="0"/>
              </a:rPr>
              <a:t>em</a:t>
            </a:r>
            <a:r>
              <a:rPr lang="en-US" altLang="en-US" sz="4800" dirty="0">
                <a:latin typeface="Times New Roman" pitchFamily="18" charset="0"/>
                <a:cs typeface="Times New Roman" pitchFamily="18" charset="0"/>
              </a:rPr>
              <a:t>?</a:t>
            </a:r>
            <a:endParaRPr lang="en-US" sz="48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522878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F21E66-9C3F-8E42-BAE7-0E7EAD41C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869" y="22225"/>
            <a:ext cx="12006262" cy="692150"/>
          </a:xfrm>
        </p:spPr>
        <p:txBody>
          <a:bodyPr>
            <a:normAutofit/>
          </a:bodyPr>
          <a:lstStyle/>
          <a:p>
            <a:pPr algn="ctr"/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Ai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kẻ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em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?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97F8A007-E756-CB42-B2E4-D83EE46E65E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54730802"/>
              </p:ext>
            </p:extLst>
          </p:nvPr>
        </p:nvGraphicFramePr>
        <p:xfrm>
          <a:off x="0" y="714375"/>
          <a:ext cx="12192000" cy="61436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EFCD8598-1E98-B44E-A25E-92597DD3B4A1}"/>
              </a:ext>
            </a:extLst>
          </p:cNvPr>
          <p:cNvSpPr/>
          <p:nvPr/>
        </p:nvSpPr>
        <p:spPr>
          <a:xfrm>
            <a:off x="8963247" y="808074"/>
            <a:ext cx="3228753" cy="582664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thường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khó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phát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hiện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nạn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nhân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hành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vi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trừ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phi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bằng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chứng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rõ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ràng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-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nói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, 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khác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tố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dấu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hiệu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tổn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thương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thể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chất</a:t>
            </a:r>
            <a:endParaRPr lang="en-AU" sz="2500" b="1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A8A660-57FD-1042-A853-DBA2729CB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pPr/>
              <a:t>31</a:t>
            </a:fld>
            <a:endParaRPr lang="en-AU" dirty="0"/>
          </a:p>
        </p:txBody>
      </p:sp>
      <p:sp>
        <p:nvSpPr>
          <p:cNvPr id="6" name="Nổ: 8 Điểm 5">
            <a:extLst>
              <a:ext uri="{FF2B5EF4-FFF2-40B4-BE49-F238E27FC236}">
                <a16:creationId xmlns:a16="http://schemas.microsoft.com/office/drawing/2014/main" id="{F0855BDE-92CC-4601-B344-54BBD0BE1343}"/>
              </a:ext>
            </a:extLst>
          </p:cNvPr>
          <p:cNvSpPr/>
          <p:nvPr/>
        </p:nvSpPr>
        <p:spPr>
          <a:xfrm>
            <a:off x="386861" y="868434"/>
            <a:ext cx="7963786" cy="5752214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000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BẤT KỲ AI</a:t>
            </a:r>
          </a:p>
        </p:txBody>
      </p:sp>
    </p:spTree>
    <p:extLst>
      <p:ext uri="{BB962C8B-B14F-4D97-AF65-F5344CB8AC3E}">
        <p14:creationId xmlns:p14="http://schemas.microsoft.com/office/powerpoint/2010/main" val="30683633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56236B-0AC7-AF49-944D-049E91DF6E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2237"/>
            <a:ext cx="10515600" cy="620713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Hậu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quả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XÂM HẠI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em</a:t>
            </a:r>
            <a:endParaRPr lang="en-AU" sz="3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8932B8C-618B-3545-A620-50C25BD99A3A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14300" y="742950"/>
          <a:ext cx="12077700" cy="6115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9E7C9C5-F094-764D-84EE-D98DA25E9D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pPr/>
              <a:t>3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6078963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65DFEA-2DD3-D84F-A977-198606CF5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0814"/>
            <a:ext cx="10515600" cy="649288"/>
          </a:xfrm>
        </p:spPr>
        <p:txBody>
          <a:bodyPr>
            <a:normAutofit/>
          </a:bodyPr>
          <a:lstStyle/>
          <a:p>
            <a:pPr algn="ctr"/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6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dạng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XÂM HẠI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em</a:t>
            </a:r>
            <a:endParaRPr lang="en-AU" sz="3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855346E-69F8-154E-A796-0A9299AC8A2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23230053"/>
              </p:ext>
            </p:extLst>
          </p:nvPr>
        </p:nvGraphicFramePr>
        <p:xfrm>
          <a:off x="0" y="1014414"/>
          <a:ext cx="12192000" cy="58435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6874D35-AE1C-2743-825E-50E5E7CB8D4D}"/>
              </a:ext>
            </a:extLst>
          </p:cNvPr>
          <p:cNvSpPr/>
          <p:nvPr/>
        </p:nvSpPr>
        <p:spPr>
          <a:xfrm>
            <a:off x="4572000" y="3257550"/>
            <a:ext cx="2743200" cy="142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Nhiều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dạng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xảy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ra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cùng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lúc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[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Đồng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500" b="1" dirty="0" err="1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thời</a:t>
            </a:r>
            <a:r>
              <a:rPr lang="en-AU" sz="2500" b="1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]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E558A5E-437B-054E-B96C-5BCB58824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pPr/>
              <a:t>33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1055122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24000" y="1"/>
            <a:ext cx="9144000" cy="780558"/>
          </a:xfrm>
        </p:spPr>
        <p:txBody>
          <a:bodyPr/>
          <a:lstStyle/>
          <a:p>
            <a:r>
              <a:rPr lang="en-US" sz="3200" dirty="0"/>
              <a:t>1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THỂ CHẤ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0" y="780558"/>
            <a:ext cx="12192000" cy="7586693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3000" dirty="0" err="1">
                <a:latin typeface="Times New Roman" pitchFamily="18" charset="0"/>
                <a:cs typeface="Times New Roman" pitchFamily="18" charset="0"/>
              </a:rPr>
              <a:t>Xảy</a:t>
            </a: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 ra </a:t>
            </a:r>
            <a:r>
              <a:rPr lang="en-US" sz="3000" dirty="0" err="1"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000" dirty="0" err="1">
                <a:latin typeface="Times New Roman" pitchFamily="18" charset="0"/>
                <a:cs typeface="Times New Roman" pitchFamily="18" charset="0"/>
              </a:rPr>
              <a:t>cơ</a:t>
            </a: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000" dirty="0" err="1">
                <a:latin typeface="Times New Roman" pitchFamily="18" charset="0"/>
                <a:cs typeface="Times New Roman" pitchFamily="18" charset="0"/>
              </a:rPr>
              <a:t>thể</a:t>
            </a: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0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000" dirty="0" err="1">
                <a:latin typeface="Times New Roman" pitchFamily="18" charset="0"/>
                <a:cs typeface="Times New Roman" pitchFamily="18" charset="0"/>
              </a:rPr>
              <a:t>bị</a:t>
            </a: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000" dirty="0" err="1">
                <a:latin typeface="Times New Roman" pitchFamily="18" charset="0"/>
                <a:cs typeface="Times New Roman" pitchFamily="18" charset="0"/>
              </a:rPr>
              <a:t>gây</a:t>
            </a: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000" dirty="0" err="1">
                <a:latin typeface="Times New Roman" pitchFamily="18" charset="0"/>
                <a:cs typeface="Times New Roman" pitchFamily="18" charset="0"/>
              </a:rPr>
              <a:t>tổn</a:t>
            </a: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000" dirty="0" err="1"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en-US" sz="3000" dirty="0" err="1"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 do tai </a:t>
            </a:r>
            <a:r>
              <a:rPr lang="en-US" sz="3000" dirty="0" err="1">
                <a:latin typeface="Times New Roman" pitchFamily="18" charset="0"/>
                <a:cs typeface="Times New Roman" pitchFamily="18" charset="0"/>
              </a:rPr>
              <a:t>nạn</a:t>
            </a: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en-US" sz="3000" dirty="0" err="1"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 qua </a:t>
            </a:r>
            <a:r>
              <a:rPr lang="en-US" sz="3000" dirty="0" err="1"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000" dirty="0" err="1">
                <a:latin typeface="Times New Roman" pitchFamily="18" charset="0"/>
                <a:cs typeface="Times New Roman" pitchFamily="18" charset="0"/>
              </a:rPr>
              <a:t>hành</a:t>
            </a: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 vi:</a:t>
            </a:r>
          </a:p>
          <a:p>
            <a:r>
              <a:rPr lang="en-US" dirty="0" err="1">
                <a:latin typeface="Times New Roman" pitchFamily="18" charset="0"/>
                <a:cs typeface="Times New Roman" pitchFamily="18" charset="0"/>
              </a:rPr>
              <a:t>Bị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đánh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đập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bằ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vật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nào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đó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[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ay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đá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gỗ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kim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loại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dây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]</a:t>
            </a:r>
          </a:p>
          <a:p>
            <a:r>
              <a:rPr lang="en-US" dirty="0" err="1">
                <a:latin typeface="Times New Roman" pitchFamily="18" charset="0"/>
                <a:cs typeface="Times New Roman" pitchFamily="18" charset="0"/>
              </a:rPr>
              <a:t>Xiết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cổ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bằ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dây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  <a:p>
            <a:r>
              <a:rPr lang="en-US" dirty="0" err="1">
                <a:latin typeface="Times New Roman" pitchFamily="18" charset="0"/>
                <a:cs typeface="Times New Roman" pitchFamily="18" charset="0"/>
              </a:rPr>
              <a:t>Làm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nghẹt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hở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  <a:p>
            <a:r>
              <a:rPr lang="en-US" dirty="0" err="1">
                <a:latin typeface="Times New Roman" pitchFamily="18" charset="0"/>
                <a:cs typeface="Times New Roman" pitchFamily="18" charset="0"/>
              </a:rPr>
              <a:t>Dìm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xuố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nước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  <a:p>
            <a:r>
              <a:rPr lang="en-US" dirty="0" err="1">
                <a:latin typeface="Times New Roman" pitchFamily="18" charset="0"/>
                <a:cs typeface="Times New Roman" pitchFamily="18" charset="0"/>
              </a:rPr>
              <a:t>Làm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bỏng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  <a:p>
            <a:r>
              <a:rPr lang="en-US" dirty="0" err="1">
                <a:latin typeface="Times New Roman" pitchFamily="18" charset="0"/>
                <a:cs typeface="Times New Roman" pitchFamily="18" charset="0"/>
              </a:rPr>
              <a:t>Dù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dao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tấn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cô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…</a:t>
            </a:r>
          </a:p>
          <a:p>
            <a:pPr marL="0" indent="0">
              <a:buNone/>
            </a:pPr>
            <a:r>
              <a:rPr lang="en-US" sz="3000" dirty="0" err="1">
                <a:latin typeface="Times New Roman" pitchFamily="18" charset="0"/>
                <a:cs typeface="Times New Roman" pitchFamily="18" charset="0"/>
              </a:rPr>
              <a:t>Hậu</a:t>
            </a: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000" dirty="0" err="1">
                <a:latin typeface="Times New Roman" pitchFamily="18" charset="0"/>
                <a:cs typeface="Times New Roman" pitchFamily="18" charset="0"/>
              </a:rPr>
              <a:t>quả</a:t>
            </a: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000" dirty="0" err="1"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 do </a:t>
            </a:r>
            <a:r>
              <a:rPr lang="en-US" sz="3000" dirty="0" err="1">
                <a:latin typeface="Times New Roman" pitchFamily="18" charset="0"/>
                <a:cs typeface="Times New Roman" pitchFamily="18" charset="0"/>
              </a:rPr>
              <a:t>hành</a:t>
            </a: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000" dirty="0" err="1">
                <a:latin typeface="Times New Roman" pitchFamily="18" charset="0"/>
                <a:cs typeface="Times New Roman" pitchFamily="18" charset="0"/>
              </a:rPr>
              <a:t>động</a:t>
            </a:r>
            <a:r>
              <a:rPr lang="en-US" sz="3000" dirty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>
              <a:buFontTx/>
              <a:buChar char="-"/>
            </a:pPr>
            <a:r>
              <a:rPr lang="en-US" dirty="0" err="1"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cho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ăn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uống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  <a:p>
            <a:pPr>
              <a:buFontTx/>
              <a:buChar char="-"/>
            </a:pPr>
            <a:r>
              <a:rPr lang="en-US" dirty="0" err="1"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cung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cấp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chỗ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ở…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3085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 build="p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24000" y="1"/>
            <a:ext cx="9144000" cy="780558"/>
          </a:xfrm>
        </p:spPr>
        <p:txBody>
          <a:bodyPr/>
          <a:lstStyle/>
          <a:p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âm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lý</a:t>
            </a:r>
            <a:endParaRPr lang="en-US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0" y="780558"/>
            <a:ext cx="12192000" cy="7586693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Xảy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ra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heo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2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ách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lớn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lă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mạ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xúc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phạm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hình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ảnh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bản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hân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giá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rị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bản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hân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ă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lực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bản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hân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khác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ó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“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ai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muốn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mày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” ”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mày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đồ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gu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” </a:t>
            </a:r>
          </a:p>
          <a:p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khác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ó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ho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hiểu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một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á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hân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riê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biệt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giá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rị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khả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ă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học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ập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để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hực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hiện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ô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mớ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4541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 build="p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24000" y="1"/>
            <a:ext cx="9144000" cy="780558"/>
          </a:xfrm>
        </p:spPr>
        <p:txBody>
          <a:bodyPr/>
          <a:lstStyle/>
          <a:p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ảm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xúc</a:t>
            </a:r>
            <a:endParaRPr lang="en-US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0" y="780558"/>
            <a:ext cx="12192000" cy="7586693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Xảy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ra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hu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ầu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yêu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hươ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hăm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sóc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đáp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ứ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ảm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xúc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xảy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ra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heo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2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ách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lớn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đáp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ứ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hu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ầu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yêu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hươ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– “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ai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yêu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mày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”.</a:t>
            </a:r>
          </a:p>
          <a:p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lớn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đáp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ứ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hư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heo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một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ách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iêu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ực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– “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Đừ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khóc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vì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bị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ổn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hươ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con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ra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hì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ên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khóc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”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491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 build="p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24000" y="1"/>
            <a:ext cx="9144000" cy="780558"/>
          </a:xfrm>
        </p:spPr>
        <p:txBody>
          <a:bodyPr/>
          <a:lstStyle/>
          <a:p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4.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ình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dục</a:t>
            </a:r>
            <a:endParaRPr lang="en-US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0" y="780558"/>
            <a:ext cx="12192000" cy="7586693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pPr marL="0" indent="0" algn="just">
              <a:lnSpc>
                <a:spcPct val="80000"/>
              </a:lnSpc>
              <a:buNone/>
            </a:pPr>
            <a:endParaRPr lang="en-AU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80000"/>
              </a:lnSpc>
              <a:buNone/>
            </a:pPr>
            <a:endParaRPr lang="en-AU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lnSpc>
                <a:spcPct val="80000"/>
              </a:lnSpc>
              <a:buNone/>
            </a:pP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Ép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buộ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lô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kéo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ham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gia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vào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hoạt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động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ình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dụ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bằng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hạm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vào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ơ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hể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sát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ham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gia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vào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hoạt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động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ình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dụ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mà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nhận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hứ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huyện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gì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đang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diễn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ra.</a:t>
            </a:r>
            <a:endParaRPr lang="en-US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6492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 build="p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Chỗ dành sẵn cho Nội dung 16">
            <a:extLst>
              <a:ext uri="{FF2B5EF4-FFF2-40B4-BE49-F238E27FC236}">
                <a16:creationId xmlns:a16="http://schemas.microsoft.com/office/drawing/2014/main" id="{CF0E95CB-3A4C-49AA-B578-FFF1AF70F08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1091" y="87085"/>
            <a:ext cx="11896952" cy="4898571"/>
          </a:xfrm>
          <a:prstGeom prst="roundRect">
            <a:avLst>
              <a:gd name="adj" fmla="val 5301"/>
            </a:avLst>
          </a:prstGeom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2" name="Tiêu đề 1">
            <a:extLst>
              <a:ext uri="{FF2B5EF4-FFF2-40B4-BE49-F238E27FC236}">
                <a16:creationId xmlns:a16="http://schemas.microsoft.com/office/drawing/2014/main" id="{32DEC506-D0B2-4B48-B55A-0430613E1A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384" y="5455483"/>
            <a:ext cx="10916365" cy="1137554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4800" dirty="0" err="1"/>
              <a:t>thủ</a:t>
            </a:r>
            <a:r>
              <a:rPr lang="en-US" sz="4800" dirty="0"/>
              <a:t> </a:t>
            </a:r>
            <a:r>
              <a:rPr lang="en-US" sz="4800" dirty="0" err="1"/>
              <a:t>phạm</a:t>
            </a:r>
            <a:r>
              <a:rPr lang="en-US" sz="4800" dirty="0"/>
              <a:t> </a:t>
            </a:r>
            <a:r>
              <a:rPr lang="en-US" sz="4800" dirty="0" err="1"/>
              <a:t>là</a:t>
            </a:r>
            <a:r>
              <a:rPr lang="en-US" sz="4800" dirty="0"/>
              <a:t> ai?</a:t>
            </a:r>
          </a:p>
        </p:txBody>
      </p:sp>
      <p:sp>
        <p:nvSpPr>
          <p:cNvPr id="23" name="Tiêu đề 1">
            <a:extLst>
              <a:ext uri="{FF2B5EF4-FFF2-40B4-BE49-F238E27FC236}">
                <a16:creationId xmlns:a16="http://schemas.microsoft.com/office/drawing/2014/main" id="{7A293080-A360-40C0-9608-8206E2B1393B}"/>
              </a:ext>
            </a:extLst>
          </p:cNvPr>
          <p:cNvSpPr txBox="1">
            <a:spLocks/>
          </p:cNvSpPr>
          <p:nvPr/>
        </p:nvSpPr>
        <p:spPr>
          <a:xfrm>
            <a:off x="1151678" y="-90034"/>
            <a:ext cx="10916365" cy="11375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301939833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 descr="ครูหน่อง">
            <a:extLst>
              <a:ext uri="{FF2B5EF4-FFF2-40B4-BE49-F238E27FC236}">
                <a16:creationId xmlns:a16="http://schemas.microsoft.com/office/drawing/2014/main" id="{5688733F-FA2A-49B6-A58D-F552210EE3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84" r="11018"/>
          <a:stretch/>
        </p:blipFill>
        <p:spPr>
          <a:xfrm>
            <a:off x="980514" y="618517"/>
            <a:ext cx="3321492" cy="5596019"/>
          </a:xfrm>
          <a:prstGeom prst="roundRect">
            <a:avLst>
              <a:gd name="adj" fmla="val 530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5A777CB4-4E66-4F51-8180-0109CEEAF9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2520" y="2367092"/>
            <a:ext cx="5855415" cy="3847444"/>
          </a:xfrm>
        </p:spPr>
        <p:txBody>
          <a:bodyPr>
            <a:normAutofit/>
          </a:bodyPr>
          <a:lstStyle/>
          <a:p>
            <a:pPr algn="just"/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Cựu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thư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ký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của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ổ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chức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BaanSaeng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awan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ổ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chức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bảo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vệ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rẻ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thái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lan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Xâm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hại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ình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dục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ít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nhất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8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rẻ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emtrong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hẩm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quyền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của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mình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theo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dõi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có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độ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uổi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ừ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14-17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Bị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buộc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ội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xâm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hại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ình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dục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rẻ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e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và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dùng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vũ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lực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để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bắt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buộc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rẻ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Bị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kết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án</a:t>
            </a:r>
            <a:r>
              <a:rPr lang="vi-VN" dirty="0">
                <a:latin typeface="Arial" panose="020B0604020202020204" pitchFamily="34" charset="0"/>
                <a:cs typeface="Arial" panose="020B0604020202020204" pitchFamily="34" charset="0"/>
              </a:rPr>
              <a:t> 48 năm </a:t>
            </a:r>
            <a:r>
              <a:rPr lang="vi-VN" dirty="0" err="1">
                <a:latin typeface="Arial" panose="020B0604020202020204" pitchFamily="34" charset="0"/>
                <a:cs typeface="Arial" panose="020B0604020202020204" pitchFamily="34" charset="0"/>
              </a:rPr>
              <a:t>tù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êu đề 1">
            <a:extLst>
              <a:ext uri="{FF2B5EF4-FFF2-40B4-BE49-F238E27FC236}">
                <a16:creationId xmlns:a16="http://schemas.microsoft.com/office/drawing/2014/main" id="{A79B91AB-09FA-4210-90E5-F700838B5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2520" y="618517"/>
            <a:ext cx="5855416" cy="1596177"/>
          </a:xfrm>
        </p:spPr>
        <p:txBody>
          <a:bodyPr>
            <a:normAutofit/>
          </a:bodyPr>
          <a:lstStyle/>
          <a:p>
            <a:r>
              <a:rPr lang="en-US" dirty="0" err="1"/>
              <a:t>Waralongkorn</a:t>
            </a:r>
            <a:r>
              <a:rPr lang="en-US" dirty="0"/>
              <a:t> </a:t>
            </a:r>
            <a:r>
              <a:rPr lang="en-US" dirty="0" err="1"/>
              <a:t>Janehat</a:t>
            </a:r>
            <a:r>
              <a:rPr lang="en-US" dirty="0"/>
              <a:t> ‘</a:t>
            </a:r>
            <a:r>
              <a:rPr lang="en-US" dirty="0" err="1"/>
              <a:t>Kru</a:t>
            </a:r>
            <a:r>
              <a:rPr lang="en-US" dirty="0"/>
              <a:t> </a:t>
            </a:r>
            <a:r>
              <a:rPr lang="en-US" dirty="0" err="1"/>
              <a:t>Nong</a:t>
            </a:r>
            <a:r>
              <a:rPr lang="en-US" dirty="0"/>
              <a:t>’</a:t>
            </a:r>
          </a:p>
        </p:txBody>
      </p:sp>
    </p:spTree>
    <p:extLst>
      <p:ext uri="{BB962C8B-B14F-4D97-AF65-F5344CB8AC3E}">
        <p14:creationId xmlns:p14="http://schemas.microsoft.com/office/powerpoint/2010/main" val="3938312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88717466-CBE8-4E98-922A-66D23FE39C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3775" y="668595"/>
            <a:ext cx="10364452" cy="51226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Hình Bầu dục 3">
            <a:extLst>
              <a:ext uri="{FF2B5EF4-FFF2-40B4-BE49-F238E27FC236}">
                <a16:creationId xmlns:a16="http://schemas.microsoft.com/office/drawing/2014/main" id="{3F1799ED-D68A-4CB0-864B-A2A64E2CE653}"/>
              </a:ext>
            </a:extLst>
          </p:cNvPr>
          <p:cNvSpPr/>
          <p:nvPr/>
        </p:nvSpPr>
        <p:spPr>
          <a:xfrm>
            <a:off x="3224981" y="344129"/>
            <a:ext cx="6282813" cy="584527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709</a:t>
            </a:r>
          </a:p>
        </p:txBody>
      </p:sp>
    </p:spTree>
    <p:extLst>
      <p:ext uri="{BB962C8B-B14F-4D97-AF65-F5344CB8AC3E}">
        <p14:creationId xmlns:p14="http://schemas.microsoft.com/office/powerpoint/2010/main" val="323569153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hỗ dành sẵn cho Nội dung 4">
            <a:extLst>
              <a:ext uri="{FF2B5EF4-FFF2-40B4-BE49-F238E27FC236}">
                <a16:creationId xmlns:a16="http://schemas.microsoft.com/office/drawing/2014/main" id="{60C885BF-CEE9-43F0-8F27-A16D3F2D432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676" b="31176"/>
          <a:stretch/>
        </p:blipFill>
        <p:spPr>
          <a:xfrm>
            <a:off x="998001" y="618517"/>
            <a:ext cx="6200406" cy="5629884"/>
          </a:xfrm>
          <a:prstGeom prst="roundRect">
            <a:avLst>
              <a:gd name="adj" fmla="val 2981"/>
            </a:avLst>
          </a:prstGeom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3AA68CBD-7E36-4723-9F97-ADB0264A4C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96408" y="1942023"/>
            <a:ext cx="3352128" cy="3881309"/>
          </a:xfrm>
        </p:spPr>
        <p:txBody>
          <a:bodyPr>
            <a:normAutofit/>
          </a:bodyPr>
          <a:lstStyle/>
          <a:p>
            <a:pPr algn="just">
              <a:lnSpc>
                <a:spcPct val="110000"/>
              </a:lnSpc>
            </a:pPr>
            <a:r>
              <a:rPr lang="vi-VN" sz="1500" dirty="0" err="1"/>
              <a:t>Trường</a:t>
            </a:r>
            <a:r>
              <a:rPr lang="vi-VN" sz="1500" dirty="0"/>
              <a:t> </a:t>
            </a:r>
            <a:r>
              <a:rPr lang="vi-VN" sz="1500" dirty="0" err="1"/>
              <a:t>hợp</a:t>
            </a:r>
            <a:r>
              <a:rPr lang="vi-VN" sz="1500" dirty="0"/>
              <a:t> </a:t>
            </a:r>
            <a:r>
              <a:rPr lang="vi-VN" sz="1500" dirty="0" err="1"/>
              <a:t>phụ</a:t>
            </a:r>
            <a:r>
              <a:rPr lang="vi-VN" sz="1500" dirty="0"/>
              <a:t> </a:t>
            </a:r>
            <a:r>
              <a:rPr lang="vi-VN" sz="1500" dirty="0" err="1"/>
              <a:t>nữ</a:t>
            </a:r>
            <a:r>
              <a:rPr lang="vi-VN" sz="1500" dirty="0"/>
              <a:t> </a:t>
            </a:r>
            <a:r>
              <a:rPr lang="vi-VN" sz="1500" dirty="0" err="1"/>
              <a:t>hãm</a:t>
            </a:r>
            <a:r>
              <a:rPr lang="vi-VN" sz="1500" dirty="0"/>
              <a:t> </a:t>
            </a:r>
            <a:r>
              <a:rPr lang="vi-VN" sz="1500" dirty="0" err="1"/>
              <a:t>hiếp</a:t>
            </a:r>
            <a:r>
              <a:rPr lang="vi-VN" sz="1500" dirty="0"/>
              <a:t> </a:t>
            </a:r>
            <a:r>
              <a:rPr lang="vi-VN" sz="1500" dirty="0" err="1"/>
              <a:t>trẻ</a:t>
            </a:r>
            <a:r>
              <a:rPr lang="vi-VN" sz="1500" dirty="0"/>
              <a:t> em</a:t>
            </a:r>
            <a:r>
              <a:rPr lang="en-US" sz="1500" dirty="0"/>
              <a:t> </a:t>
            </a:r>
            <a:r>
              <a:rPr lang="vi-VN" sz="1500" dirty="0" err="1"/>
              <a:t>được</a:t>
            </a:r>
            <a:r>
              <a:rPr lang="vi-VN" sz="1500" dirty="0"/>
              <a:t> công khai </a:t>
            </a:r>
            <a:r>
              <a:rPr lang="vi-VN" sz="1500" dirty="0" err="1"/>
              <a:t>rộng</a:t>
            </a:r>
            <a:r>
              <a:rPr lang="vi-VN" sz="1500" dirty="0"/>
              <a:t> </a:t>
            </a:r>
            <a:r>
              <a:rPr lang="vi-VN" sz="1500" dirty="0" err="1"/>
              <a:t>rãi</a:t>
            </a:r>
            <a:r>
              <a:rPr lang="vi-VN" sz="1500" dirty="0"/>
              <a:t> </a:t>
            </a:r>
            <a:r>
              <a:rPr lang="vi-VN" sz="1500" dirty="0" err="1"/>
              <a:t>nhất</a:t>
            </a:r>
            <a:r>
              <a:rPr lang="vi-VN" sz="1500" dirty="0"/>
              <a:t> </a:t>
            </a:r>
            <a:r>
              <a:rPr lang="vi-VN" sz="1500" dirty="0" err="1"/>
              <a:t>trêntoàn</a:t>
            </a:r>
            <a:r>
              <a:rPr lang="vi-VN" sz="1500" dirty="0"/>
              <a:t> </a:t>
            </a:r>
            <a:r>
              <a:rPr lang="vi-VN" sz="1500" dirty="0" err="1"/>
              <a:t>nước</a:t>
            </a:r>
            <a:r>
              <a:rPr lang="vi-VN" sz="1500" dirty="0"/>
              <a:t> </a:t>
            </a:r>
            <a:r>
              <a:rPr lang="vi-VN" sz="1500" dirty="0" err="1"/>
              <a:t>Mỹ</a:t>
            </a:r>
            <a:r>
              <a:rPr lang="vi-VN" sz="1500" dirty="0"/>
              <a:t>.</a:t>
            </a:r>
            <a:endParaRPr lang="en-US" sz="1500" dirty="0"/>
          </a:p>
          <a:p>
            <a:pPr algn="just">
              <a:lnSpc>
                <a:spcPct val="110000"/>
              </a:lnSpc>
            </a:pPr>
            <a:r>
              <a:rPr lang="vi-VN" sz="1500" dirty="0"/>
              <a:t>• </a:t>
            </a:r>
            <a:r>
              <a:rPr lang="vi-VN" sz="1500" dirty="0" err="1"/>
              <a:t>Giáo</a:t>
            </a:r>
            <a:r>
              <a:rPr lang="vi-VN" sz="1500" dirty="0"/>
              <a:t> viên </a:t>
            </a:r>
            <a:r>
              <a:rPr lang="vi-VN" sz="1500" dirty="0" err="1"/>
              <a:t>tiểu</a:t>
            </a:r>
            <a:r>
              <a:rPr lang="vi-VN" sz="1500" dirty="0"/>
              <a:t> </a:t>
            </a:r>
            <a:r>
              <a:rPr lang="vi-VN" sz="1500" dirty="0" err="1"/>
              <a:t>học</a:t>
            </a:r>
            <a:r>
              <a:rPr lang="vi-VN" sz="1500" dirty="0"/>
              <a:t> </a:t>
            </a:r>
            <a:r>
              <a:rPr lang="vi-VN" sz="1500" dirty="0" err="1"/>
              <a:t>đã</a:t>
            </a:r>
            <a:r>
              <a:rPr lang="vi-VN" sz="1500" dirty="0"/>
              <a:t> </a:t>
            </a:r>
            <a:r>
              <a:rPr lang="vi-VN" sz="1500" dirty="0" err="1"/>
              <a:t>bị</a:t>
            </a:r>
            <a:r>
              <a:rPr lang="vi-VN" sz="1500" dirty="0"/>
              <a:t> </a:t>
            </a:r>
            <a:r>
              <a:rPr lang="vi-VN" sz="1500" dirty="0" err="1"/>
              <a:t>buộc</a:t>
            </a:r>
            <a:r>
              <a:rPr lang="vi-VN" sz="1500" dirty="0"/>
              <a:t> </a:t>
            </a:r>
            <a:r>
              <a:rPr lang="vi-VN" sz="1500" dirty="0" err="1"/>
              <a:t>tội</a:t>
            </a:r>
            <a:r>
              <a:rPr lang="vi-VN" sz="1500" dirty="0"/>
              <a:t> </a:t>
            </a:r>
            <a:r>
              <a:rPr lang="vi-VN" sz="1500" dirty="0" err="1"/>
              <a:t>ép</a:t>
            </a:r>
            <a:r>
              <a:rPr lang="en-US" sz="1500" dirty="0"/>
              <a:t> </a:t>
            </a:r>
            <a:r>
              <a:rPr lang="vi-VN" sz="1500" dirty="0" err="1"/>
              <a:t>buộc</a:t>
            </a:r>
            <a:r>
              <a:rPr lang="vi-VN" sz="1500" dirty="0"/>
              <a:t> </a:t>
            </a:r>
            <a:r>
              <a:rPr lang="vi-VN" sz="1500" dirty="0" err="1"/>
              <a:t>một</a:t>
            </a:r>
            <a:r>
              <a:rPr lang="vi-VN" sz="1500" dirty="0"/>
              <a:t> </a:t>
            </a:r>
            <a:r>
              <a:rPr lang="vi-VN" sz="1500" dirty="0" err="1"/>
              <a:t>học</a:t>
            </a:r>
            <a:r>
              <a:rPr lang="vi-VN" sz="1500" dirty="0"/>
              <a:t> sinh nam13 </a:t>
            </a:r>
            <a:r>
              <a:rPr lang="vi-VN" sz="1500" dirty="0" err="1"/>
              <a:t>tuổi</a:t>
            </a:r>
            <a:r>
              <a:rPr lang="vi-VN" sz="1500" dirty="0"/>
              <a:t> </a:t>
            </a:r>
            <a:r>
              <a:rPr lang="vi-VN" sz="1500" dirty="0" err="1"/>
              <a:t>quanhệ</a:t>
            </a:r>
            <a:r>
              <a:rPr lang="vi-VN" sz="1500" dirty="0"/>
              <a:t> </a:t>
            </a:r>
            <a:r>
              <a:rPr lang="vi-VN" sz="1500" dirty="0" err="1"/>
              <a:t>tình</a:t>
            </a:r>
            <a:r>
              <a:rPr lang="vi-VN" sz="1500" dirty="0"/>
              <a:t> </a:t>
            </a:r>
            <a:r>
              <a:rPr lang="vi-VN" sz="1500" dirty="0" err="1"/>
              <a:t>dục</a:t>
            </a:r>
            <a:r>
              <a:rPr lang="vi-VN" sz="1500" dirty="0"/>
              <a:t>.</a:t>
            </a:r>
            <a:endParaRPr lang="en-US" sz="1500" dirty="0"/>
          </a:p>
          <a:p>
            <a:pPr algn="just">
              <a:lnSpc>
                <a:spcPct val="110000"/>
              </a:lnSpc>
            </a:pPr>
            <a:r>
              <a:rPr lang="vi-VN" sz="1500" dirty="0"/>
              <a:t>• </a:t>
            </a:r>
            <a:r>
              <a:rPr lang="vi-VN" sz="1500" dirty="0" err="1"/>
              <a:t>Tiếp</a:t>
            </a:r>
            <a:r>
              <a:rPr lang="vi-VN" sz="1500" dirty="0"/>
              <a:t> </a:t>
            </a:r>
            <a:r>
              <a:rPr lang="vi-VN" sz="1500" dirty="0" err="1"/>
              <a:t>tục</a:t>
            </a:r>
            <a:r>
              <a:rPr lang="vi-VN" sz="1500" dirty="0"/>
              <a:t> </a:t>
            </a:r>
            <a:r>
              <a:rPr lang="vi-VN" sz="1500" dirty="0" err="1"/>
              <a:t>có</a:t>
            </a:r>
            <a:r>
              <a:rPr lang="vi-VN" sz="1500" dirty="0"/>
              <a:t> quan </a:t>
            </a:r>
            <a:r>
              <a:rPr lang="vi-VN" sz="1500" dirty="0" err="1"/>
              <a:t>hệ</a:t>
            </a:r>
            <a:r>
              <a:rPr lang="vi-VN" sz="1500" dirty="0"/>
              <a:t> </a:t>
            </a:r>
            <a:r>
              <a:rPr lang="vi-VN" sz="1500" dirty="0" err="1"/>
              <a:t>với</a:t>
            </a:r>
            <a:r>
              <a:rPr lang="vi-VN" sz="1500" dirty="0"/>
              <a:t> </a:t>
            </a:r>
            <a:r>
              <a:rPr lang="vi-VN" sz="1500" dirty="0" err="1"/>
              <a:t>trẻ</a:t>
            </a:r>
            <a:r>
              <a:rPr lang="vi-VN" sz="1500" dirty="0"/>
              <a:t> trai </a:t>
            </a:r>
            <a:r>
              <a:rPr lang="vi-VN" sz="1500" dirty="0" err="1"/>
              <a:t>trongquá</a:t>
            </a:r>
            <a:r>
              <a:rPr lang="vi-VN" sz="1500" dirty="0"/>
              <a:t> </a:t>
            </a:r>
            <a:r>
              <a:rPr lang="vi-VN" sz="1500" dirty="0" err="1"/>
              <a:t>trình</a:t>
            </a:r>
            <a:r>
              <a:rPr lang="vi-VN" sz="1500" dirty="0"/>
              <a:t> </a:t>
            </a:r>
            <a:r>
              <a:rPr lang="vi-VN" sz="1500" dirty="0" err="1"/>
              <a:t>bị</a:t>
            </a:r>
            <a:r>
              <a:rPr lang="vi-VN" sz="1500" dirty="0"/>
              <a:t> </a:t>
            </a:r>
            <a:r>
              <a:rPr lang="vi-VN" sz="1500" dirty="0" err="1"/>
              <a:t>quản</a:t>
            </a:r>
            <a:r>
              <a:rPr lang="vi-VN" sz="1500" dirty="0"/>
              <a:t> </a:t>
            </a:r>
            <a:r>
              <a:rPr lang="vi-VN" sz="1500" dirty="0" err="1"/>
              <a:t>thúc</a:t>
            </a:r>
            <a:r>
              <a:rPr lang="vi-VN" sz="1500" dirty="0"/>
              <a:t>.</a:t>
            </a:r>
            <a:endParaRPr lang="en-US" sz="1500" dirty="0"/>
          </a:p>
          <a:p>
            <a:pPr algn="just">
              <a:lnSpc>
                <a:spcPct val="110000"/>
              </a:lnSpc>
            </a:pPr>
            <a:r>
              <a:rPr lang="vi-VN" sz="1500" dirty="0"/>
              <a:t>• </a:t>
            </a:r>
            <a:r>
              <a:rPr lang="vi-VN" sz="1500" dirty="0" err="1"/>
              <a:t>Bà</a:t>
            </a:r>
            <a:r>
              <a:rPr lang="vi-VN" sz="1500" dirty="0"/>
              <a:t> ta </a:t>
            </a:r>
            <a:r>
              <a:rPr lang="vi-VN" sz="1500" dirty="0" err="1"/>
              <a:t>đã</a:t>
            </a:r>
            <a:r>
              <a:rPr lang="vi-VN" sz="1500" dirty="0"/>
              <a:t> </a:t>
            </a:r>
            <a:r>
              <a:rPr lang="vi-VN" sz="1500" dirty="0" err="1"/>
              <a:t>bị</a:t>
            </a:r>
            <a:r>
              <a:rPr lang="vi-VN" sz="1500" dirty="0"/>
              <a:t> </a:t>
            </a:r>
            <a:r>
              <a:rPr lang="vi-VN" sz="1500" dirty="0" err="1"/>
              <a:t>xử</a:t>
            </a:r>
            <a:r>
              <a:rPr lang="vi-VN" sz="1500" dirty="0"/>
              <a:t> </a:t>
            </a:r>
            <a:r>
              <a:rPr lang="vi-VN" sz="1500" dirty="0" err="1"/>
              <a:t>án</a:t>
            </a:r>
            <a:r>
              <a:rPr lang="vi-VN" sz="1500" dirty="0"/>
              <a:t> </a:t>
            </a:r>
            <a:r>
              <a:rPr lang="vi-VN" sz="1500" dirty="0" err="1"/>
              <a:t>lại</a:t>
            </a:r>
            <a:r>
              <a:rPr lang="vi-VN" sz="1500" dirty="0"/>
              <a:t> </a:t>
            </a:r>
            <a:r>
              <a:rPr lang="vi-VN" sz="1500" dirty="0" err="1"/>
              <a:t>bảy</a:t>
            </a:r>
            <a:r>
              <a:rPr lang="vi-VN" sz="1500" dirty="0"/>
              <a:t> năm </a:t>
            </a:r>
            <a:r>
              <a:rPr lang="vi-VN" sz="1500" dirty="0" err="1"/>
              <a:t>sáutháng</a:t>
            </a:r>
            <a:r>
              <a:rPr lang="vi-VN" sz="1500" dirty="0"/>
              <a:t> </a:t>
            </a:r>
            <a:r>
              <a:rPr lang="vi-VN" sz="1500" dirty="0" err="1"/>
              <a:t>tù</a:t>
            </a:r>
            <a:endParaRPr lang="en-US" sz="1500" dirty="0"/>
          </a:p>
        </p:txBody>
      </p:sp>
      <p:sp>
        <p:nvSpPr>
          <p:cNvPr id="2" name="Tiêu đề 1">
            <a:extLst>
              <a:ext uri="{FF2B5EF4-FFF2-40B4-BE49-F238E27FC236}">
                <a16:creationId xmlns:a16="http://schemas.microsoft.com/office/drawing/2014/main" id="{782FA838-7C2C-41F4-B74E-1805C60325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96408" y="184080"/>
            <a:ext cx="3352128" cy="1573863"/>
          </a:xfrm>
        </p:spPr>
        <p:txBody>
          <a:bodyPr>
            <a:normAutofit/>
          </a:bodyPr>
          <a:lstStyle/>
          <a:p>
            <a:r>
              <a:rPr lang="en-US" dirty="0"/>
              <a:t>Mary Kay Letourneau</a:t>
            </a:r>
          </a:p>
        </p:txBody>
      </p:sp>
    </p:spTree>
    <p:extLst>
      <p:ext uri="{BB962C8B-B14F-4D97-AF65-F5344CB8AC3E}">
        <p14:creationId xmlns:p14="http://schemas.microsoft.com/office/powerpoint/2010/main" val="329582179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hỗ dành sẵn cho Nội dung 4">
            <a:extLst>
              <a:ext uri="{FF2B5EF4-FFF2-40B4-BE49-F238E27FC236}">
                <a16:creationId xmlns:a16="http://schemas.microsoft.com/office/drawing/2014/main" id="{F4286B68-9DBE-456A-852E-EC6D4E82CD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464" y="921766"/>
            <a:ext cx="2946759" cy="4989520"/>
          </a:xfrm>
          <a:prstGeom prst="roundRect">
            <a:avLst>
              <a:gd name="adj" fmla="val 5301"/>
            </a:avLst>
          </a:prstGeom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F953BED-6A3D-4EAF-8C59-897862630E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8254" y="1833694"/>
            <a:ext cx="6880282" cy="4380842"/>
          </a:xfrm>
        </p:spPr>
        <p:txBody>
          <a:bodyPr>
            <a:normAutofit/>
          </a:bodyPr>
          <a:lstStyle/>
          <a:p>
            <a:pPr algn="just"/>
            <a:r>
              <a:rPr lang="vi-VN" dirty="0"/>
              <a:t> Năm 2003, </a:t>
            </a:r>
            <a:r>
              <a:rPr lang="vi-VN" dirty="0" err="1"/>
              <a:t>Clark</a:t>
            </a:r>
            <a:r>
              <a:rPr lang="vi-VN" dirty="0"/>
              <a:t> </a:t>
            </a:r>
            <a:r>
              <a:rPr lang="vi-VN" dirty="0" err="1"/>
              <a:t>bị</a:t>
            </a:r>
            <a:r>
              <a:rPr lang="vi-VN" dirty="0"/>
              <a:t> </a:t>
            </a:r>
            <a:r>
              <a:rPr lang="vi-VN" dirty="0" err="1"/>
              <a:t>bắt</a:t>
            </a:r>
            <a:r>
              <a:rPr lang="vi-VN" dirty="0"/>
              <a:t> </a:t>
            </a:r>
            <a:r>
              <a:rPr lang="vi-VN" dirty="0" err="1"/>
              <a:t>giữ</a:t>
            </a:r>
            <a:r>
              <a:rPr lang="vi-VN" dirty="0"/>
              <a:t> ở Căm </a:t>
            </a:r>
            <a:r>
              <a:rPr lang="vi-VN" dirty="0" err="1"/>
              <a:t>puchia</a:t>
            </a:r>
            <a:r>
              <a:rPr lang="vi-VN" dirty="0"/>
              <a:t> </a:t>
            </a:r>
            <a:r>
              <a:rPr lang="vi-VN" dirty="0" err="1"/>
              <a:t>vì</a:t>
            </a:r>
            <a:r>
              <a:rPr lang="vi-VN" dirty="0"/>
              <a:t> </a:t>
            </a:r>
            <a:r>
              <a:rPr lang="vi-VN" dirty="0" err="1"/>
              <a:t>tội</a:t>
            </a:r>
            <a:r>
              <a:rPr lang="vi-VN" dirty="0"/>
              <a:t> </a:t>
            </a:r>
            <a:r>
              <a:rPr lang="vi-VN" dirty="0" err="1"/>
              <a:t>có</a:t>
            </a:r>
            <a:r>
              <a:rPr lang="vi-VN" dirty="0"/>
              <a:t> quan </a:t>
            </a:r>
            <a:r>
              <a:rPr lang="vi-VN" dirty="0" err="1"/>
              <a:t>hệ</a:t>
            </a:r>
            <a:r>
              <a:rPr lang="vi-VN" dirty="0"/>
              <a:t> </a:t>
            </a:r>
            <a:r>
              <a:rPr lang="vi-VN" dirty="0" err="1"/>
              <a:t>tình</a:t>
            </a:r>
            <a:r>
              <a:rPr lang="vi-VN" dirty="0"/>
              <a:t> </a:t>
            </a:r>
            <a:r>
              <a:rPr lang="vi-VN" dirty="0" err="1"/>
              <a:t>dục</a:t>
            </a:r>
            <a:r>
              <a:rPr lang="vi-VN" dirty="0"/>
              <a:t> </a:t>
            </a:r>
            <a:r>
              <a:rPr lang="vi-VN" dirty="0" err="1"/>
              <a:t>với</a:t>
            </a:r>
            <a:r>
              <a:rPr lang="vi-VN" dirty="0"/>
              <a:t> </a:t>
            </a:r>
            <a:r>
              <a:rPr lang="vi-VN" dirty="0" err="1"/>
              <a:t>haicậu</a:t>
            </a:r>
            <a:r>
              <a:rPr lang="vi-VN" dirty="0"/>
              <a:t> </a:t>
            </a:r>
            <a:r>
              <a:rPr lang="vi-VN" dirty="0" err="1"/>
              <a:t>bé</a:t>
            </a:r>
            <a:r>
              <a:rPr lang="vi-VN" dirty="0"/>
              <a:t>, </a:t>
            </a:r>
            <a:r>
              <a:rPr lang="vi-VN" dirty="0" err="1"/>
              <a:t>một</a:t>
            </a:r>
            <a:r>
              <a:rPr lang="vi-VN" dirty="0"/>
              <a:t> em </a:t>
            </a:r>
            <a:r>
              <a:rPr lang="vi-VN" dirty="0" err="1"/>
              <a:t>mới</a:t>
            </a:r>
            <a:r>
              <a:rPr lang="vi-VN" dirty="0"/>
              <a:t> </a:t>
            </a:r>
            <a:r>
              <a:rPr lang="vi-VN" dirty="0" err="1"/>
              <a:t>chỉ</a:t>
            </a:r>
            <a:r>
              <a:rPr lang="vi-VN" dirty="0"/>
              <a:t> 10 </a:t>
            </a:r>
            <a:r>
              <a:rPr lang="vi-VN" dirty="0" err="1"/>
              <a:t>tuổi</a:t>
            </a:r>
            <a:r>
              <a:rPr lang="vi-VN" dirty="0"/>
              <a:t> </a:t>
            </a:r>
            <a:r>
              <a:rPr lang="vi-VN" dirty="0" err="1"/>
              <a:t>và</a:t>
            </a:r>
            <a:r>
              <a:rPr lang="vi-VN" dirty="0"/>
              <a:t> </a:t>
            </a:r>
            <a:r>
              <a:rPr lang="vi-VN" dirty="0" err="1"/>
              <a:t>emkia</a:t>
            </a:r>
            <a:r>
              <a:rPr lang="vi-VN" dirty="0"/>
              <a:t> 13 </a:t>
            </a:r>
            <a:r>
              <a:rPr lang="vi-VN" dirty="0" err="1"/>
              <a:t>tuổi</a:t>
            </a:r>
            <a:r>
              <a:rPr lang="vi-VN" dirty="0"/>
              <a:t>.</a:t>
            </a:r>
            <a:endParaRPr lang="en-US" dirty="0"/>
          </a:p>
          <a:p>
            <a:pPr algn="just"/>
            <a:r>
              <a:rPr lang="vi-VN" dirty="0"/>
              <a:t>Ông ta </a:t>
            </a:r>
            <a:r>
              <a:rPr lang="vi-VN" dirty="0" err="1"/>
              <a:t>đã</a:t>
            </a:r>
            <a:r>
              <a:rPr lang="vi-VN" dirty="0"/>
              <a:t> </a:t>
            </a:r>
            <a:r>
              <a:rPr lang="vi-VN" dirty="0" err="1"/>
              <a:t>thú</a:t>
            </a:r>
            <a:r>
              <a:rPr lang="vi-VN" dirty="0"/>
              <a:t> </a:t>
            </a:r>
            <a:r>
              <a:rPr lang="vi-VN" dirty="0" err="1"/>
              <a:t>nhận</a:t>
            </a:r>
            <a:r>
              <a:rPr lang="vi-VN" dirty="0"/>
              <a:t> </a:t>
            </a:r>
            <a:r>
              <a:rPr lang="vi-VN" dirty="0" err="1"/>
              <a:t>đã</a:t>
            </a:r>
            <a:r>
              <a:rPr lang="vi-VN" dirty="0"/>
              <a:t> </a:t>
            </a:r>
            <a:r>
              <a:rPr lang="vi-VN" dirty="0" err="1"/>
              <a:t>từng</a:t>
            </a:r>
            <a:r>
              <a:rPr lang="vi-VN" dirty="0"/>
              <a:t>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quanhệ</a:t>
            </a:r>
            <a:r>
              <a:rPr lang="vi-VN" dirty="0"/>
              <a:t> </a:t>
            </a:r>
            <a:r>
              <a:rPr lang="vi-VN" dirty="0" err="1"/>
              <a:t>tình</a:t>
            </a:r>
            <a:r>
              <a:rPr lang="vi-VN" dirty="0"/>
              <a:t> </a:t>
            </a:r>
            <a:r>
              <a:rPr lang="vi-VN" dirty="0" err="1"/>
              <a:t>dục</a:t>
            </a:r>
            <a:r>
              <a:rPr lang="vi-VN" dirty="0"/>
              <a:t> </a:t>
            </a:r>
            <a:r>
              <a:rPr lang="vi-VN" dirty="0" err="1"/>
              <a:t>với</a:t>
            </a:r>
            <a:r>
              <a:rPr lang="vi-VN" dirty="0"/>
              <a:t> 50 em trai </a:t>
            </a:r>
            <a:r>
              <a:rPr lang="vi-VN" dirty="0" err="1"/>
              <a:t>có</a:t>
            </a:r>
            <a:r>
              <a:rPr lang="vi-VN" dirty="0"/>
              <a:t> </a:t>
            </a:r>
            <a:r>
              <a:rPr lang="vi-VN" dirty="0" err="1"/>
              <a:t>độ</a:t>
            </a:r>
            <a:r>
              <a:rPr lang="vi-VN" dirty="0"/>
              <a:t> </a:t>
            </a:r>
            <a:r>
              <a:rPr lang="vi-VN" dirty="0" err="1"/>
              <a:t>tuổitừ</a:t>
            </a:r>
            <a:r>
              <a:rPr lang="vi-VN" dirty="0"/>
              <a:t> 10-18 </a:t>
            </a:r>
            <a:r>
              <a:rPr lang="vi-VN" dirty="0" err="1"/>
              <a:t>tuổi</a:t>
            </a:r>
            <a:r>
              <a:rPr lang="vi-VN" dirty="0"/>
              <a:t> trong </a:t>
            </a:r>
            <a:r>
              <a:rPr lang="vi-VN" dirty="0" err="1"/>
              <a:t>thời</a:t>
            </a:r>
            <a:r>
              <a:rPr lang="vi-VN" dirty="0"/>
              <a:t> gian ở </a:t>
            </a:r>
            <a:r>
              <a:rPr lang="vi-VN" dirty="0" err="1"/>
              <a:t>Cămpu</a:t>
            </a:r>
            <a:r>
              <a:rPr lang="vi-VN" dirty="0"/>
              <a:t> chia </a:t>
            </a:r>
            <a:r>
              <a:rPr lang="vi-VN" dirty="0" err="1"/>
              <a:t>từ</a:t>
            </a:r>
            <a:r>
              <a:rPr lang="vi-VN" dirty="0"/>
              <a:t> năm 1998</a:t>
            </a:r>
            <a:endParaRPr lang="en-US" dirty="0"/>
          </a:p>
          <a:p>
            <a:pPr algn="just"/>
            <a:r>
              <a:rPr lang="vi-VN" dirty="0"/>
              <a:t>Ông ta </a:t>
            </a:r>
            <a:r>
              <a:rPr lang="vi-VN" dirty="0" err="1"/>
              <a:t>chỉ</a:t>
            </a:r>
            <a:r>
              <a:rPr lang="vi-VN" dirty="0"/>
              <a:t> </a:t>
            </a:r>
            <a:r>
              <a:rPr lang="vi-VN" dirty="0" err="1"/>
              <a:t>phải</a:t>
            </a:r>
            <a:r>
              <a:rPr lang="vi-VN" dirty="0"/>
              <a:t> </a:t>
            </a:r>
            <a:r>
              <a:rPr lang="vi-VN" dirty="0" err="1"/>
              <a:t>trả</a:t>
            </a:r>
            <a:r>
              <a:rPr lang="vi-VN" dirty="0"/>
              <a:t> chưa </a:t>
            </a:r>
            <a:r>
              <a:rPr lang="vi-VN" dirty="0" err="1"/>
              <a:t>đến</a:t>
            </a:r>
            <a:r>
              <a:rPr lang="vi-VN" dirty="0"/>
              <a:t> 2 đô </a:t>
            </a:r>
            <a:r>
              <a:rPr lang="vi-VN" dirty="0" err="1"/>
              <a:t>lacho</a:t>
            </a:r>
            <a:r>
              <a:rPr lang="vi-VN" dirty="0"/>
              <a:t> </a:t>
            </a:r>
            <a:r>
              <a:rPr lang="vi-VN" dirty="0" err="1"/>
              <a:t>mỗi</a:t>
            </a:r>
            <a:r>
              <a:rPr lang="vi-VN" dirty="0"/>
              <a:t> </a:t>
            </a:r>
            <a:r>
              <a:rPr lang="vi-VN" dirty="0" err="1"/>
              <a:t>lần</a:t>
            </a:r>
            <a:r>
              <a:rPr lang="vi-VN" dirty="0"/>
              <a:t> quan </a:t>
            </a:r>
            <a:r>
              <a:rPr lang="vi-VN" dirty="0" err="1"/>
              <a:t>hệ</a:t>
            </a:r>
            <a:r>
              <a:rPr lang="vi-VN" dirty="0"/>
              <a:t> </a:t>
            </a:r>
            <a:r>
              <a:rPr lang="vi-VN" dirty="0" err="1"/>
              <a:t>tình</a:t>
            </a:r>
            <a:r>
              <a:rPr lang="vi-VN" dirty="0"/>
              <a:t> </a:t>
            </a:r>
            <a:r>
              <a:rPr lang="vi-VN" dirty="0" err="1"/>
              <a:t>dục</a:t>
            </a:r>
            <a:endParaRPr lang="en-US" dirty="0"/>
          </a:p>
          <a:p>
            <a:pPr algn="just"/>
            <a:r>
              <a:rPr lang="vi-VN" dirty="0"/>
              <a:t>Ông ta </a:t>
            </a:r>
            <a:r>
              <a:rPr lang="vi-VN" dirty="0" err="1"/>
              <a:t>đã</a:t>
            </a:r>
            <a:r>
              <a:rPr lang="vi-VN" dirty="0"/>
              <a:t> </a:t>
            </a:r>
            <a:r>
              <a:rPr lang="vi-VN" dirty="0" err="1"/>
              <a:t>bị</a:t>
            </a:r>
            <a:r>
              <a:rPr lang="vi-VN" dirty="0"/>
              <a:t> </a:t>
            </a:r>
            <a:r>
              <a:rPr lang="vi-VN" dirty="0" err="1"/>
              <a:t>phạt</a:t>
            </a:r>
            <a:r>
              <a:rPr lang="vi-VN" dirty="0"/>
              <a:t> hơn 8 năm </a:t>
            </a:r>
            <a:r>
              <a:rPr lang="vi-VN" dirty="0" err="1"/>
              <a:t>tù</a:t>
            </a:r>
            <a:endParaRPr lang="en-US" dirty="0"/>
          </a:p>
        </p:txBody>
      </p:sp>
      <p:sp>
        <p:nvSpPr>
          <p:cNvPr id="2" name="Tiêu đề 1">
            <a:extLst>
              <a:ext uri="{FF2B5EF4-FFF2-40B4-BE49-F238E27FC236}">
                <a16:creationId xmlns:a16="http://schemas.microsoft.com/office/drawing/2014/main" id="{EFC6667A-76E3-40EF-B2C1-E5C1AF1EE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2520" y="237517"/>
            <a:ext cx="5855416" cy="1596177"/>
          </a:xfrm>
        </p:spPr>
        <p:txBody>
          <a:bodyPr>
            <a:normAutofit/>
          </a:bodyPr>
          <a:lstStyle/>
          <a:p>
            <a:r>
              <a:rPr lang="en-US" dirty="0"/>
              <a:t>Michael Lewis Clark</a:t>
            </a:r>
          </a:p>
        </p:txBody>
      </p:sp>
    </p:spTree>
    <p:extLst>
      <p:ext uri="{BB962C8B-B14F-4D97-AF65-F5344CB8AC3E}">
        <p14:creationId xmlns:p14="http://schemas.microsoft.com/office/powerpoint/2010/main" val="287685476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êu đề 1">
            <a:extLst>
              <a:ext uri="{FF2B5EF4-FFF2-40B4-BE49-F238E27FC236}">
                <a16:creationId xmlns:a16="http://schemas.microsoft.com/office/drawing/2014/main" id="{BD9DB6E5-5DC8-44D3-8B38-0522A92D141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565276" y="20638"/>
            <a:ext cx="9134475" cy="671512"/>
          </a:xfrm>
        </p:spPr>
        <p:txBody>
          <a:bodyPr/>
          <a:lstStyle/>
          <a:p>
            <a:r>
              <a:rPr lang="en-US" altLang="en-US" dirty="0" err="1"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US" alt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dirty="0" err="1">
                <a:latin typeface="Times New Roman" pitchFamily="18" charset="0"/>
                <a:cs typeface="Times New Roman" pitchFamily="18" charset="0"/>
              </a:rPr>
              <a:t>hình</a:t>
            </a:r>
            <a:r>
              <a:rPr lang="en-US" alt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dirty="0" err="1">
                <a:latin typeface="Times New Roman" pitchFamily="18" charset="0"/>
                <a:cs typeface="Times New Roman" pitchFamily="18" charset="0"/>
              </a:rPr>
              <a:t>thức</a:t>
            </a:r>
            <a:r>
              <a:rPr lang="en-US" altLang="en-US" dirty="0">
                <a:latin typeface="Times New Roman" pitchFamily="18" charset="0"/>
                <a:cs typeface="Times New Roman" pitchFamily="18" charset="0"/>
              </a:rPr>
              <a:t> XHTD TE</a:t>
            </a:r>
          </a:p>
        </p:txBody>
      </p:sp>
      <p:graphicFrame>
        <p:nvGraphicFramePr>
          <p:cNvPr id="4" name="Bảng 4">
            <a:extLst>
              <a:ext uri="{FF2B5EF4-FFF2-40B4-BE49-F238E27FC236}">
                <a16:creationId xmlns:a16="http://schemas.microsoft.com/office/drawing/2014/main" id="{E9209547-DD42-4E42-9A75-B652C84AC64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0" y="692150"/>
          <a:ext cx="12192000" cy="6155279"/>
        </p:xfrm>
        <a:graphic>
          <a:graphicData uri="http://schemas.openxmlformats.org/drawingml/2006/table">
            <a:tbl>
              <a:tblPr/>
              <a:tblGrid>
                <a:gridCol w="5094817">
                  <a:extLst>
                    <a:ext uri="{9D8B030D-6E8A-4147-A177-3AD203B41FA5}">
                      <a16:colId xmlns:a16="http://schemas.microsoft.com/office/drawing/2014/main" val="3991559376"/>
                    </a:ext>
                  </a:extLst>
                </a:gridCol>
                <a:gridCol w="7097183">
                  <a:extLst>
                    <a:ext uri="{9D8B030D-6E8A-4147-A177-3AD203B41FA5}">
                      <a16:colId xmlns:a16="http://schemas.microsoft.com/office/drawing/2014/main" val="3453920027"/>
                    </a:ext>
                  </a:extLst>
                </a:gridCol>
              </a:tblGrid>
              <a:tr h="41665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rực</a:t>
                      </a:r>
                      <a:r>
                        <a:rPr kumimoji="0" lang="en-US" altLang="en-US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iếp</a:t>
                      </a:r>
                      <a:endParaRPr kumimoji="0" lang="en-US" altLang="en-US" sz="22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1" i="0" u="none" strike="noStrike" cap="none" normalizeH="0" baseline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Gián tiếp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6721580"/>
                  </a:ext>
                </a:extLst>
              </a:tr>
              <a:tr h="5728559">
                <a:tc>
                  <a:txBody>
                    <a:bodyPr/>
                    <a:lstStyle>
                      <a:lvl1pPr marL="342900" indent="-34290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panose="02020603050405020304" pitchFamily="18" charset="0"/>
                        <a:buChar char="-"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ô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ô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heo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qua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điể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panose="02020603050405020304" pitchFamily="18" charset="0"/>
                        <a:buChar char="-"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Sờ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mơ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rớ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ộ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phậ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si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panose="02020603050405020304" pitchFamily="18" charset="0"/>
                        <a:buChar char="-"/>
                        <a:tabLst/>
                      </a:pP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ắt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đứa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sờ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vào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ộ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phậ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si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ủa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há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panose="02020603050405020304" pitchFamily="18" charset="0"/>
                        <a:buChar char="-"/>
                        <a:tabLst/>
                      </a:pP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Giao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ợp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vào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â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đạo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hay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ậu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mô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oạt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động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há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panose="02020603050405020304" pitchFamily="18" charset="0"/>
                        <a:buChar char="-"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ắ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vào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ộ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phậ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si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ủa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panose="02020603050405020304" pitchFamily="18" charset="0"/>
                        <a:buChar char="-"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Loạ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luâ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panose="02020603050405020304" pitchFamily="18" charset="0"/>
                        <a:buChar char="-"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ó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lột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liê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qua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đế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hương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mạ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e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(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để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iề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hay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àng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oá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). </a:t>
                      </a:r>
                    </a:p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Times New Roman" panose="02020603050405020304" pitchFamily="18" charset="0"/>
                        <a:buChar char="-"/>
                        <a:tabLst/>
                      </a:pP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u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lịc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e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h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ẻ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đ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đế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vùng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há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để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qua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ệ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vớ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em</a:t>
                      </a:r>
                      <a:endParaRPr kumimoji="0" lang="en-US" altLang="en-US" sz="2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Gọ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điệ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hoạ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hiêu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â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á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ả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hiêu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â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rê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máy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í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hay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điệ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hoạ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viết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hững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lờ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ĩu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Quan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ệ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ảo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Gạ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gẫ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xe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ả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qua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ệ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rê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mạng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Xe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ra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ả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hiêu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â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Phô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â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Phơ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ày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á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ả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hiêu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â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hường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xuyê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hiêu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â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á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âu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ỏ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hậ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xét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ừa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ã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ị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ắt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uộ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hủ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â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ắt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xe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há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hủ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â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ó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lột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du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lịc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e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ũng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là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ầ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rự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iếp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(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ví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ụ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một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hà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điều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à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du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lịc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hay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lái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xe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taxi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sắp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xếp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á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huyế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du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lịc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e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ho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á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hác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du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lịc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để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quan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ệ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ũng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là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ẻ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ó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lột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ình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em</a:t>
                      </a:r>
                      <a:r>
                        <a:rPr kumimoji="0" lang="en-US" altLang="en-US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)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886013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0"/>
            <a:ext cx="8229600" cy="807018"/>
          </a:xfrm>
        </p:spPr>
        <p:txBody>
          <a:bodyPr/>
          <a:lstStyle/>
          <a:p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5.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Chứ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kiến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bạo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lực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gia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đình</a:t>
            </a:r>
            <a:endParaRPr lang="en-US" sz="3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0" y="807018"/>
          <a:ext cx="12192000" cy="60509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53138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Grp="1" noChangeArrowheads="1"/>
          </p:cNvSpPr>
          <p:nvPr>
            <p:ph type="title"/>
          </p:nvPr>
        </p:nvSpPr>
        <p:spPr>
          <a:xfrm>
            <a:off x="81023" y="2"/>
            <a:ext cx="12110977" cy="729204"/>
          </a:xfrm>
        </p:spPr>
        <p:txBody>
          <a:bodyPr>
            <a:normAutofit/>
          </a:bodyPr>
          <a:lstStyle/>
          <a:p>
            <a:pPr algn="ctr" eaLnBrk="1" hangingPunct="1"/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6.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Bóc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lột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lao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độ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em</a:t>
            </a:r>
            <a:endParaRPr lang="en-US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4516" name="Slide Number Placeholder 5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F4F05E54-47ED-8841-A662-CAFCB070610F}" type="slidenum">
              <a:rPr lang="en-US">
                <a:ea typeface="ＭＳ Ｐゴシック" charset="-128"/>
                <a:cs typeface="ＭＳ Ｐゴシック" charset="-128"/>
              </a:rPr>
              <a:pPr/>
              <a:t>44</a:t>
            </a:fld>
            <a:endParaRPr lang="en-US" dirty="0">
              <a:ea typeface="ＭＳ Ｐゴシック" charset="-128"/>
              <a:cs typeface="ＭＳ Ｐゴシック" charset="-128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29124148"/>
              </p:ext>
            </p:extLst>
          </p:nvPr>
        </p:nvGraphicFramePr>
        <p:xfrm>
          <a:off x="81023" y="729207"/>
          <a:ext cx="12110977" cy="59922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29027893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1005465"/>
          </a:xfrm>
        </p:spPr>
        <p:txBody>
          <a:bodyPr>
            <a:normAutofit/>
          </a:bodyPr>
          <a:lstStyle/>
          <a:p>
            <a:pPr algn="ctr"/>
            <a:r>
              <a:rPr lang="en-US" sz="3200" dirty="0"/>
              <a:t>7. XAO NHÃNG/BỎ MẶC</a:t>
            </a:r>
          </a:p>
        </p:txBody>
      </p:sp>
      <p:pic>
        <p:nvPicPr>
          <p:cNvPr id="4" name="Picture 14" descr="http://t1.gstatic.com/images?q=tbn:ANd9GcQAJKJkWugg7_5gbSbOUmBwY9Zu7on4eOZEr_oahG_Oz__UaRnzCA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02" r="18702"/>
          <a:stretch>
            <a:fillRect/>
          </a:stretch>
        </p:blipFill>
        <p:spPr bwMode="auto">
          <a:xfrm>
            <a:off x="285136" y="1005466"/>
            <a:ext cx="11169445" cy="5716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1FC063-5EA9-49AF-AFAF-D68C9E82B23B}" type="slidenum">
              <a:rPr lang="en-US" smtClean="0"/>
              <a:pPr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21455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1"/>
            <a:ext cx="8229600" cy="727639"/>
          </a:xfrm>
        </p:spPr>
        <p:txBody>
          <a:bodyPr/>
          <a:lstStyle/>
          <a:p>
            <a:pPr algn="ctr"/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ghĩa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xao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nhã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/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bỏ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mặc</a:t>
            </a:r>
            <a:endParaRPr lang="en-US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0" y="1098074"/>
            <a:ext cx="12192000" cy="5759926"/>
          </a:xfrm>
        </p:spPr>
        <p:txBody>
          <a:bodyPr>
            <a:normAutofit/>
          </a:bodyPr>
          <a:lstStyle/>
          <a:p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Xao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nhãng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em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xảy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ra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lớn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thường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xuyên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hoàn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thành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trách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nhiệm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chăm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sóc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một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cách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phù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qua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hành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vi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chủ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đích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chủ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đích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. </a:t>
            </a:r>
          </a:p>
          <a:p>
            <a:pPr marL="0" indent="0">
              <a:buNone/>
            </a:pPr>
            <a:endParaRPr lang="en-US" sz="22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Xao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nhãng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nghĩa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nhu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cầu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ăn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uống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nhà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ở,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quần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áo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đi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học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cảm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thấy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bản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thân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mình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giá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trị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như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một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con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đáp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ứng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một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cách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phù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Hầu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hết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bỏ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mặc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kết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quả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hành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vi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chủ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đích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phía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lớn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thường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liên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hệ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nhưng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phải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nguyên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nhân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nghèo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đói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nghiện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rượu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bia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ma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tuý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vấn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đề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sức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khoẻ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tâm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200" dirty="0" err="1">
                <a:latin typeface="Times New Roman" pitchFamily="18" charset="0"/>
                <a:cs typeface="Times New Roman" pitchFamily="18" charset="0"/>
              </a:rPr>
              <a:t>thần</a:t>
            </a:r>
            <a:r>
              <a:rPr lang="en-US" sz="2200" dirty="0"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B540C-44DA-4F69-89C9-7C84606640D3}" type="slidenum">
              <a:rPr lang="en-US" smtClean="0"/>
              <a:pPr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389436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êu đề 1">
            <a:extLst>
              <a:ext uri="{FF2B5EF4-FFF2-40B4-BE49-F238E27FC236}">
                <a16:creationId xmlns:a16="http://schemas.microsoft.com/office/drawing/2014/main" id="{A23C18B9-9D89-49A1-9B30-9E396FF1CA4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981200" y="0"/>
            <a:ext cx="8229600" cy="626533"/>
          </a:xfrm>
        </p:spPr>
        <p:txBody>
          <a:bodyPr/>
          <a:lstStyle/>
          <a:p>
            <a:r>
              <a:rPr lang="en-US" altLang="en-US" dirty="0" err="1"/>
              <a:t>Hình</a:t>
            </a:r>
            <a:r>
              <a:rPr lang="en-US" altLang="en-US" dirty="0"/>
              <a:t> </a:t>
            </a:r>
            <a:r>
              <a:rPr lang="en-US" altLang="en-US" dirty="0" err="1"/>
              <a:t>thức</a:t>
            </a:r>
            <a:r>
              <a:rPr lang="en-US" altLang="en-US" dirty="0"/>
              <a:t> </a:t>
            </a:r>
            <a:r>
              <a:rPr lang="en-US" altLang="en-US" dirty="0" err="1"/>
              <a:t>xâm</a:t>
            </a:r>
            <a:r>
              <a:rPr lang="en-US" altLang="en-US" dirty="0"/>
              <a:t> </a:t>
            </a:r>
            <a:r>
              <a:rPr lang="en-US" altLang="en-US" dirty="0" err="1"/>
              <a:t>hại</a:t>
            </a:r>
            <a:r>
              <a:rPr lang="en-US" altLang="en-US" dirty="0"/>
              <a:t> </a:t>
            </a:r>
            <a:r>
              <a:rPr lang="en-US" altLang="en-US" dirty="0" err="1"/>
              <a:t>trẻ</a:t>
            </a:r>
            <a:r>
              <a:rPr lang="en-US" altLang="en-US" dirty="0"/>
              <a:t> </a:t>
            </a:r>
            <a:r>
              <a:rPr lang="en-US" altLang="en-US" dirty="0" err="1"/>
              <a:t>em</a:t>
            </a:r>
            <a:endParaRPr lang="en-US" altLang="en-US" dirty="0"/>
          </a:p>
        </p:txBody>
      </p:sp>
      <p:pic>
        <p:nvPicPr>
          <p:cNvPr id="14339" name="Chỗ dành sẵn cho Nội dung 7">
            <a:extLst>
              <a:ext uri="{FF2B5EF4-FFF2-40B4-BE49-F238E27FC236}">
                <a16:creationId xmlns:a16="http://schemas.microsoft.com/office/drawing/2014/main" id="{4F40197D-6F2A-4E75-A09E-45B8E307ADC5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524933"/>
            <a:ext cx="12192000" cy="6375401"/>
          </a:xfrm>
        </p:spPr>
      </p:pic>
    </p:spTree>
    <p:extLst>
      <p:ext uri="{BB962C8B-B14F-4D97-AF65-F5344CB8AC3E}">
        <p14:creationId xmlns:p14="http://schemas.microsoft.com/office/powerpoint/2010/main" val="84052889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8A192262-C040-4B8A-8B41-7844586A1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hỗ dành sẵn cho Nội dung 4">
            <a:extLst>
              <a:ext uri="{FF2B5EF4-FFF2-40B4-BE49-F238E27FC236}">
                <a16:creationId xmlns:a16="http://schemas.microsoft.com/office/drawing/2014/main" id="{538ABBFF-4B26-4AE5-8388-8957C3100E2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106326"/>
            <a:ext cx="12110484" cy="6751673"/>
          </a:xfrm>
        </p:spPr>
      </p:pic>
    </p:spTree>
    <p:extLst>
      <p:ext uri="{BB962C8B-B14F-4D97-AF65-F5344CB8AC3E}">
        <p14:creationId xmlns:p14="http://schemas.microsoft.com/office/powerpoint/2010/main" val="414568422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BA98DE52-EEFE-4C9E-8693-9AA50E49E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hỗ dành sẵn cho Nội dung 4">
            <a:extLst>
              <a:ext uri="{FF2B5EF4-FFF2-40B4-BE49-F238E27FC236}">
                <a16:creationId xmlns:a16="http://schemas.microsoft.com/office/drawing/2014/main" id="{D35FBE65-97C6-457B-813A-906372BA54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5060" y="138224"/>
            <a:ext cx="11993526" cy="6719776"/>
          </a:xfrm>
        </p:spPr>
      </p:pic>
    </p:spTree>
    <p:extLst>
      <p:ext uri="{BB962C8B-B14F-4D97-AF65-F5344CB8AC3E}">
        <p14:creationId xmlns:p14="http://schemas.microsoft.com/office/powerpoint/2010/main" val="3848352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2C025EE0-4B97-4C0E-9C36-0A2022E70D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Chỗ dành sẵn cho Nội dung 4">
            <a:extLst>
              <a:ext uri="{FF2B5EF4-FFF2-40B4-BE49-F238E27FC236}">
                <a16:creationId xmlns:a16="http://schemas.microsoft.com/office/drawing/2014/main" id="{8B1282B2-A504-4402-B4F0-375143F9B56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32909"/>
            <a:ext cx="12192000" cy="6825091"/>
          </a:xfrm>
        </p:spPr>
      </p:pic>
    </p:spTree>
    <p:extLst>
      <p:ext uri="{BB962C8B-B14F-4D97-AF65-F5344CB8AC3E}">
        <p14:creationId xmlns:p14="http://schemas.microsoft.com/office/powerpoint/2010/main" val="304483026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B369B3D5-1DF9-460A-BD8B-F1FE280EDE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hỗ dành sẵn cho Nội dung 4">
            <a:extLst>
              <a:ext uri="{FF2B5EF4-FFF2-40B4-BE49-F238E27FC236}">
                <a16:creationId xmlns:a16="http://schemas.microsoft.com/office/drawing/2014/main" id="{6B3744EC-873B-4984-BDA5-B775AEAB3AE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85060"/>
            <a:ext cx="12078586" cy="6772939"/>
          </a:xfrm>
        </p:spPr>
      </p:pic>
    </p:spTree>
    <p:extLst>
      <p:ext uri="{BB962C8B-B14F-4D97-AF65-F5344CB8AC3E}">
        <p14:creationId xmlns:p14="http://schemas.microsoft.com/office/powerpoint/2010/main" val="365937373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êu đề 1">
            <a:extLst>
              <a:ext uri="{FF2B5EF4-FFF2-40B4-BE49-F238E27FC236}">
                <a16:creationId xmlns:a16="http://schemas.microsoft.com/office/drawing/2014/main" id="{7B95A39B-28EE-4F86-BAAE-80C89A6A3E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hỗ dành sẵn cho Nội dung 4">
            <a:extLst>
              <a:ext uri="{FF2B5EF4-FFF2-40B4-BE49-F238E27FC236}">
                <a16:creationId xmlns:a16="http://schemas.microsoft.com/office/drawing/2014/main" id="{31E88579-8165-4415-98BA-105A03C14F6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</p:spPr>
      </p:pic>
    </p:spTree>
    <p:extLst>
      <p:ext uri="{BB962C8B-B14F-4D97-AF65-F5344CB8AC3E}">
        <p14:creationId xmlns:p14="http://schemas.microsoft.com/office/powerpoint/2010/main" val="202394706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451" name="Group 3">
            <a:extLst>
              <a:ext uri="{FF2B5EF4-FFF2-40B4-BE49-F238E27FC236}">
                <a16:creationId xmlns:a16="http://schemas.microsoft.com/office/drawing/2014/main" id="{2C2BBD60-D553-394C-8FC8-106578E68BC9}"/>
              </a:ext>
            </a:extLst>
          </p:cNvPr>
          <p:cNvGraphicFramePr>
            <a:graphicFrameLocks noGrp="1"/>
          </p:cNvGraphicFramePr>
          <p:nvPr>
            <p:ph/>
            <p:extLst>
              <p:ext uri="{D42A27DB-BD31-4B8C-83A1-F6EECF244321}">
                <p14:modId xmlns:p14="http://schemas.microsoft.com/office/powerpoint/2010/main" val="1347383109"/>
              </p:ext>
            </p:extLst>
          </p:nvPr>
        </p:nvGraphicFramePr>
        <p:xfrm>
          <a:off x="185195" y="682905"/>
          <a:ext cx="11887200" cy="6094072"/>
        </p:xfrm>
        <a:graphic>
          <a:graphicData uri="http://schemas.openxmlformats.org/drawingml/2006/table">
            <a:tbl>
              <a:tblPr/>
              <a:tblGrid>
                <a:gridCol w="1689904">
                  <a:extLst>
                    <a:ext uri="{9D8B030D-6E8A-4147-A177-3AD203B41FA5}">
                      <a16:colId xmlns:a16="http://schemas.microsoft.com/office/drawing/2014/main" val="3666619795"/>
                    </a:ext>
                  </a:extLst>
                </a:gridCol>
                <a:gridCol w="4664597">
                  <a:extLst>
                    <a:ext uri="{9D8B030D-6E8A-4147-A177-3AD203B41FA5}">
                      <a16:colId xmlns:a16="http://schemas.microsoft.com/office/drawing/2014/main" val="4193608940"/>
                    </a:ext>
                  </a:extLst>
                </a:gridCol>
                <a:gridCol w="5532699">
                  <a:extLst>
                    <a:ext uri="{9D8B030D-6E8A-4147-A177-3AD203B41FA5}">
                      <a16:colId xmlns:a16="http://schemas.microsoft.com/office/drawing/2014/main" val="3190933466"/>
                    </a:ext>
                  </a:extLst>
                </a:gridCol>
              </a:tblGrid>
              <a:tr h="694679"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ình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ức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xâm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ại</a:t>
                      </a:r>
                      <a:endParaRPr kumimoji="0" lang="en-US" alt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ất</a:t>
                      </a:r>
                      <a:endParaRPr kumimoji="0" lang="en-US" alt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ành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v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1249095"/>
                  </a:ext>
                </a:extLst>
              </a:tr>
              <a:tr h="2205438"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Xao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ãng</a:t>
                      </a:r>
                      <a:endParaRPr kumimoji="0" lang="en-US" alt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ị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ỏ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ói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ượ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sinh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sạch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sẽ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ặ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ồ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phù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ợp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ớ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ờ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iế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ộ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uổ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giớ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ính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ượ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qua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âm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sứ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o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ấ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ề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ấ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ư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ị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phá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ban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oà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da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vi-VN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 bị ruồng bỏ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xi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lấy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ộm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ồ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ăn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lờ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ờ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lơ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ã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ủ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gật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ỉ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ra ai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là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ăm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só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ấ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ô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á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ấy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iều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ứ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ơ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ình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í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dụ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ồ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ă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ình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yêu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ạ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è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280789"/>
                  </a:ext>
                </a:extLst>
              </a:tr>
              <a:tr h="3193955"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Xâm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ại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ất</a:t>
                      </a:r>
                      <a:endParaRPr kumimoji="0" lang="en-US" alt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  <a:defRPr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ữ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ế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ầm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ổ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ươ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ấ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à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giả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ích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ượ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  <a:defRPr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dấu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ế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á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ấ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ươ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ấ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á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(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a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liề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sẹo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)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dấu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ế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ị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ánh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ớ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ồ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ậ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í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dụ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ro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ắ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lư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dây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iệ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ế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ỏ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ê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ơ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á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dấu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ế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á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au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ê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á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ù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ơ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ữ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ế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ắ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xướ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ê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ơ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à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giả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ích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ượ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kumimoji="0" lang="en-US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xuấ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iệ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o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ộ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oả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ờ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gian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ấ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liê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lạ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ỏ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lớn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ành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vi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á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quá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–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Gây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ấ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u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ình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Sợ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à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ầ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ạ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iệ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o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ác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ăm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à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ố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áo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ị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gây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ươ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ổ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ở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ố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ẹ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Gia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ă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lo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âu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ể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ả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ới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ữ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oạt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ộ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ình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ườ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ư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ăn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ủ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sử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dụng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à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ệ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sinh</a:t>
                      </a:r>
                      <a:endParaRPr kumimoji="0" lang="en-AU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sợ</a:t>
                      </a:r>
                      <a:r>
                        <a:rPr kumimoji="0" lang="en-AU" alt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cha </a:t>
                      </a:r>
                      <a:r>
                        <a:rPr kumimoji="0" lang="en-AU" altLang="en-US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ẹ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7033815"/>
                  </a:ext>
                </a:extLst>
              </a:tr>
            </a:tbl>
          </a:graphicData>
        </a:graphic>
      </p:graphicFrame>
      <p:sp>
        <p:nvSpPr>
          <p:cNvPr id="19472" name="Slide Number Placeholder 4">
            <a:extLst>
              <a:ext uri="{FF2B5EF4-FFF2-40B4-BE49-F238E27FC236}">
                <a16:creationId xmlns:a16="http://schemas.microsoft.com/office/drawing/2014/main" id="{B6BB9080-3641-014B-88EF-D624EA31A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C453B4AF-ADC6-774F-AC47-D9BC5CB1D28A}" type="slidenum">
              <a:rPr lang="en-US" altLang="en-US" sz="1100">
                <a:solidFill>
                  <a:srgbClr val="A6A6A6"/>
                </a:solidFill>
                <a:ea typeface="ＭＳ Ｐゴシック" panose="020B0600070205080204" pitchFamily="34" charset="-128"/>
              </a:rPr>
              <a:pPr eaLnBrk="1" hangingPunct="1"/>
              <a:t>52</a:t>
            </a:fld>
            <a:endParaRPr lang="en-US" altLang="en-US" sz="1100" dirty="0">
              <a:solidFill>
                <a:srgbClr val="A6A6A6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75793" name="Rectangle 2">
            <a:extLst>
              <a:ext uri="{FF2B5EF4-FFF2-40B4-BE49-F238E27FC236}">
                <a16:creationId xmlns:a16="http://schemas.microsoft.com/office/drawing/2014/main" id="{F9B68CF9-A4AE-4245-AB4E-F9253ABC2934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0" y="0"/>
            <a:ext cx="12192000" cy="792605"/>
          </a:xfrm>
        </p:spPr>
        <p:txBody>
          <a:bodyPr>
            <a:normAutofit/>
          </a:bodyPr>
          <a:lstStyle/>
          <a:p>
            <a:pPr algn="ctr"/>
            <a:r>
              <a:rPr lang="en-US" altLang="en-US" sz="3200" dirty="0" err="1">
                <a:latin typeface="Times New Roman" pitchFamily="18" charset="0"/>
                <a:cs typeface="Times New Roman" pitchFamily="18" charset="0"/>
              </a:rPr>
              <a:t>Chỉ</a:t>
            </a:r>
            <a:r>
              <a:rPr lang="en-US" alt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3200" dirty="0" err="1">
                <a:latin typeface="Times New Roman" pitchFamily="18" charset="0"/>
                <a:cs typeface="Times New Roman" pitchFamily="18" charset="0"/>
              </a:rPr>
              <a:t>báo</a:t>
            </a:r>
            <a:r>
              <a:rPr lang="en-US" alt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3200" dirty="0" err="1"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US" alt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3200" dirty="0" err="1"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US" alt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3200" dirty="0" err="1"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US" alt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US" alt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3200" dirty="0" err="1">
                <a:latin typeface="Times New Roman" pitchFamily="18" charset="0"/>
                <a:cs typeface="Times New Roman" pitchFamily="18" charset="0"/>
              </a:rPr>
              <a:t>em</a:t>
            </a:r>
            <a:endParaRPr lang="en-US" altLang="en-US" sz="32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974607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6499" name="Group 3">
            <a:extLst>
              <a:ext uri="{FF2B5EF4-FFF2-40B4-BE49-F238E27FC236}">
                <a16:creationId xmlns:a16="http://schemas.microsoft.com/office/drawing/2014/main" id="{009BF356-732E-1840-BB3F-B1BC9E21EF68}"/>
              </a:ext>
            </a:extLst>
          </p:cNvPr>
          <p:cNvGraphicFramePr>
            <a:graphicFrameLocks noGrp="1"/>
          </p:cNvGraphicFramePr>
          <p:nvPr>
            <p:ph/>
            <p:extLst>
              <p:ext uri="{D42A27DB-BD31-4B8C-83A1-F6EECF244321}">
                <p14:modId xmlns:p14="http://schemas.microsoft.com/office/powerpoint/2010/main" val="2095580011"/>
              </p:ext>
            </p:extLst>
          </p:nvPr>
        </p:nvGraphicFramePr>
        <p:xfrm>
          <a:off x="0" y="1"/>
          <a:ext cx="12076253" cy="6874459"/>
        </p:xfrm>
        <a:graphic>
          <a:graphicData uri="http://schemas.openxmlformats.org/drawingml/2006/table">
            <a:tbl>
              <a:tblPr/>
              <a:tblGrid>
                <a:gridCol w="2129742">
                  <a:extLst>
                    <a:ext uri="{9D8B030D-6E8A-4147-A177-3AD203B41FA5}">
                      <a16:colId xmlns:a16="http://schemas.microsoft.com/office/drawing/2014/main" val="2383026986"/>
                    </a:ext>
                  </a:extLst>
                </a:gridCol>
                <a:gridCol w="4120588">
                  <a:extLst>
                    <a:ext uri="{9D8B030D-6E8A-4147-A177-3AD203B41FA5}">
                      <a16:colId xmlns:a16="http://schemas.microsoft.com/office/drawing/2014/main" val="1258737264"/>
                    </a:ext>
                  </a:extLst>
                </a:gridCol>
                <a:gridCol w="5825923">
                  <a:extLst>
                    <a:ext uri="{9D8B030D-6E8A-4147-A177-3AD203B41FA5}">
                      <a16:colId xmlns:a16="http://schemas.microsoft.com/office/drawing/2014/main" val="613473446"/>
                    </a:ext>
                  </a:extLst>
                </a:gridCol>
              </a:tblGrid>
              <a:tr h="684581"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ình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ức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xâm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ại</a:t>
                      </a:r>
                      <a:endParaRPr kumimoji="0" lang="en-US" alt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ất</a:t>
                      </a:r>
                      <a:endParaRPr kumimoji="0" lang="en-US" alt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ành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v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1746372"/>
                  </a:ext>
                </a:extLst>
              </a:tr>
              <a:tr h="3720547"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Xâm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ại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ình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endParaRPr kumimoji="0" lang="en-US" alt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gặp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ó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ă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o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iệ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ự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iệ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á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oạ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ộ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ấ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ư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lạ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ồ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ế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rác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ảy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áu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ế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âm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dướ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quầ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áo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ị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ứa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oả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á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ù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oà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BPSD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âm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ạo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ậu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ô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iểu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iệ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ủa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á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ện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lây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uyề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qua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ườ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TD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iệ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àn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vi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gợ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ý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ìn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ớ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lớn</a:t>
                      </a:r>
                      <a:endParaRPr kumimoji="0" lang="en-AU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sẵ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sà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am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gia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á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oạ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ộ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ấ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ư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ơ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ao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o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ườ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ắm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àn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vi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ủa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oá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lu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so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ớ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óm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uổ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ữ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iểu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iế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ìn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phù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ợp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ớ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sự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phá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iể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ủa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Quan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ệ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ủa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ớ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ố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ẹ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ạ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è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ố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ố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áo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ã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ị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ấ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ô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ìn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iệ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ữ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sự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ưở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ượ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liê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qua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ớ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TD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9776844"/>
                  </a:ext>
                </a:extLst>
              </a:tr>
              <a:tr h="2452872"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Xâm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ại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ảm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xúc</a:t>
                      </a:r>
                      <a:endParaRPr kumimoji="0" lang="en-US" alt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dườ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ư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ô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ảm</a:t>
                      </a:r>
                      <a:endParaRPr kumimoji="0" lang="en-AU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phả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ứ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ảm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xú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ớ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á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ộ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ác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phù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ợp</a:t>
                      </a:r>
                      <a:endParaRPr kumimoji="0" lang="en-AU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iệ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sự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ò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ỏ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ặt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ảm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xú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ố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ớ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ác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6332225"/>
                  </a:ext>
                </a:extLst>
              </a:tr>
            </a:tbl>
          </a:graphicData>
        </a:graphic>
      </p:graphicFrame>
      <p:sp>
        <p:nvSpPr>
          <p:cNvPr id="21520" name="Slide Number Placeholder 4">
            <a:extLst>
              <a:ext uri="{FF2B5EF4-FFF2-40B4-BE49-F238E27FC236}">
                <a16:creationId xmlns:a16="http://schemas.microsoft.com/office/drawing/2014/main" id="{D0B28BF4-1ECC-054C-9327-C9651F1E97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209176D5-CB2C-8F4E-BBA3-D24BBD15063B}" type="slidenum">
              <a:rPr lang="en-US" altLang="en-US" sz="1100">
                <a:solidFill>
                  <a:srgbClr val="A6A6A6"/>
                </a:solidFill>
                <a:ea typeface="ＭＳ Ｐゴシック" panose="020B0600070205080204" pitchFamily="34" charset="-128"/>
              </a:rPr>
              <a:pPr eaLnBrk="1" hangingPunct="1"/>
              <a:t>53</a:t>
            </a:fld>
            <a:endParaRPr lang="en-US" altLang="en-US" sz="1100" dirty="0">
              <a:solidFill>
                <a:srgbClr val="A6A6A6"/>
              </a:solidFill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4996400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595" name="Group 3">
            <a:extLst>
              <a:ext uri="{FF2B5EF4-FFF2-40B4-BE49-F238E27FC236}">
                <a16:creationId xmlns:a16="http://schemas.microsoft.com/office/drawing/2014/main" id="{22A5F1B3-3553-D04F-A097-24BA6D7AD99C}"/>
              </a:ext>
            </a:extLst>
          </p:cNvPr>
          <p:cNvGraphicFramePr>
            <a:graphicFrameLocks noGrp="1"/>
          </p:cNvGraphicFramePr>
          <p:nvPr>
            <p:ph/>
            <p:extLst>
              <p:ext uri="{D42A27DB-BD31-4B8C-83A1-F6EECF244321}">
                <p14:modId xmlns:p14="http://schemas.microsoft.com/office/powerpoint/2010/main" val="3301361018"/>
              </p:ext>
            </p:extLst>
          </p:nvPr>
        </p:nvGraphicFramePr>
        <p:xfrm>
          <a:off x="0" y="-1"/>
          <a:ext cx="12022238" cy="6687149"/>
        </p:xfrm>
        <a:graphic>
          <a:graphicData uri="http://schemas.openxmlformats.org/drawingml/2006/table">
            <a:tbl>
              <a:tblPr/>
              <a:tblGrid>
                <a:gridCol w="2504725">
                  <a:extLst>
                    <a:ext uri="{9D8B030D-6E8A-4147-A177-3AD203B41FA5}">
                      <a16:colId xmlns:a16="http://schemas.microsoft.com/office/drawing/2014/main" val="2888147193"/>
                    </a:ext>
                  </a:extLst>
                </a:gridCol>
                <a:gridCol w="3074272">
                  <a:extLst>
                    <a:ext uri="{9D8B030D-6E8A-4147-A177-3AD203B41FA5}">
                      <a16:colId xmlns:a16="http://schemas.microsoft.com/office/drawing/2014/main" val="1876672618"/>
                    </a:ext>
                  </a:extLst>
                </a:gridCol>
                <a:gridCol w="6443241">
                  <a:extLst>
                    <a:ext uri="{9D8B030D-6E8A-4147-A177-3AD203B41FA5}">
                      <a16:colId xmlns:a16="http://schemas.microsoft.com/office/drawing/2014/main" val="2337917310"/>
                    </a:ext>
                  </a:extLst>
                </a:gridCol>
              </a:tblGrid>
              <a:tr h="488521"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ình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ức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xâm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ại</a:t>
                      </a:r>
                      <a:endParaRPr kumimoji="0" lang="en-US" alt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ất</a:t>
                      </a:r>
                      <a:endParaRPr kumimoji="0" lang="en-US" alt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ỉ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áo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ành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v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9505358"/>
                  </a:ext>
                </a:extLst>
              </a:tr>
              <a:tr h="1845518"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Xâm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ại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âm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lý</a:t>
                      </a:r>
                      <a:endParaRPr kumimoji="0" lang="en-US" altLang="en-US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ả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ă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ậ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ứ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ẩ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â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ình</a:t>
                      </a:r>
                      <a:endParaRPr kumimoji="0" lang="en-AU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ự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o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ìn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là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giá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ị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ô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dụ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quan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ọ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ấy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àn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vi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ủa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ình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ác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ộ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gì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ớ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ế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giới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xung</a:t>
                      </a:r>
                      <a:r>
                        <a:rPr kumimoji="0" lang="en-AU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AU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quanh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3097321"/>
                  </a:ext>
                </a:extLst>
              </a:tr>
              <a:tr h="1587466"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Xâm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ại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inh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ế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(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óc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lột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lao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ộng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ổ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ương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ất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Ă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ặ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ành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ộng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già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dặ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ơ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ạ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ùng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uổi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ắ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ệnh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lây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uyề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qua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ường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TD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ts val="20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 sz="20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1pPr>
                      <a:lvl2pPr marL="37931725" indent="-37474525">
                        <a:spcBef>
                          <a:spcPts val="600"/>
                        </a:spcBef>
                        <a:buClr>
                          <a:schemeClr val="accent1"/>
                        </a:buClr>
                        <a:buSzPct val="90000"/>
                        <a:buFont typeface="Wingdings 2" pitchFamily="2" charset="2"/>
                        <a:defRPr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2pPr>
                      <a:lvl3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3pPr>
                      <a:lvl4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4pPr>
                      <a:lvl5pPr>
                        <a:spcBef>
                          <a:spcPts val="600"/>
                        </a:spcBef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5pPr>
                      <a:lvl6pPr marL="4572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6pPr>
                      <a:lvl7pPr marL="9144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7pPr>
                      <a:lvl8pPr marL="13716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8pPr>
                      <a:lvl9pPr marL="1828800" fontAlgn="base">
                        <a:spcBef>
                          <a:spcPts val="600"/>
                        </a:spcBef>
                        <a:spcAft>
                          <a:spcPct val="0"/>
                        </a:spcAft>
                        <a:defRPr sz="1600">
                          <a:solidFill>
                            <a:srgbClr val="174576"/>
                          </a:solidFill>
                          <a:latin typeface="Corbel" panose="020B0503020204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am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gia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ào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á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oạt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ộng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ua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á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ình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dục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iết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á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u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ự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ua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á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TD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iều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iề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ơ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ình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ường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ượ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ảo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ê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ở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lớn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7829073"/>
                  </a:ext>
                </a:extLst>
              </a:tr>
              <a:tr h="2615750">
                <a:tc>
                  <a:txBody>
                    <a:bodyPr/>
                    <a:lstStyle/>
                    <a:p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ứng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iến</a:t>
                      </a:r>
                      <a:r>
                        <a:rPr kumimoji="0" lang="en-US" alt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BLGĐ</a:t>
                      </a:r>
                      <a:endParaRPr lang="en-AU" sz="2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sợ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ững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ẫu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uẫ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xung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ột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ầ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ạ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gia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ình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ả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hiệm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gia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ình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ạ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ần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gặp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á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oặ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cho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gườ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á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ớ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hà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ị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ắt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nạt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bở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ác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hlink"/>
                        </a:buClr>
                        <a:buSzPct val="120000"/>
                        <a:buFontTx/>
                        <a:buNone/>
                        <a:tabLst/>
                      </a:pP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e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dè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rong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iệc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khởi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xướng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oạt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động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–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Xấu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hổ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thu</a:t>
                      </a:r>
                      <a:r>
                        <a:rPr kumimoji="0" lang="en-US" alt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en-US" altLang="en-US" sz="2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mình</a:t>
                      </a:r>
                      <a:endParaRPr kumimoji="0" lang="en-US" altLang="en-US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9666984"/>
                  </a:ext>
                </a:extLst>
              </a:tr>
            </a:tbl>
          </a:graphicData>
        </a:graphic>
      </p:graphicFrame>
      <p:sp>
        <p:nvSpPr>
          <p:cNvPr id="25616" name="Slide Number Placeholder 4">
            <a:extLst>
              <a:ext uri="{FF2B5EF4-FFF2-40B4-BE49-F238E27FC236}">
                <a16:creationId xmlns:a16="http://schemas.microsoft.com/office/drawing/2014/main" id="{A7490CDE-B980-9E45-9348-320C4CDA3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DC2C1FFF-1459-2E47-9140-F3A9F9912B32}" type="slidenum">
              <a:rPr lang="en-US" altLang="en-US" sz="1100">
                <a:solidFill>
                  <a:srgbClr val="A6A6A6"/>
                </a:solidFill>
                <a:ea typeface="ＭＳ Ｐゴシック" panose="020B0600070205080204" pitchFamily="34" charset="-128"/>
              </a:rPr>
              <a:pPr eaLnBrk="1" hangingPunct="1"/>
              <a:t>54</a:t>
            </a:fld>
            <a:endParaRPr lang="en-US" altLang="en-US" sz="1100" dirty="0">
              <a:solidFill>
                <a:srgbClr val="A6A6A6"/>
              </a:solidFill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5191303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A6C2FD-006E-1149-8D42-B740B01C2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8061"/>
            <a:ext cx="12192000" cy="502976"/>
          </a:xfrm>
        </p:spPr>
        <p:txBody>
          <a:bodyPr>
            <a:noAutofit/>
          </a:bodyPr>
          <a:lstStyle/>
          <a:p>
            <a:pPr algn="ctr"/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Đi</a:t>
            </a:r>
            <a:r>
              <a:rPr lang="en-AU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đến</a:t>
            </a:r>
            <a:r>
              <a:rPr lang="en-AU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kết</a:t>
            </a:r>
            <a:r>
              <a:rPr lang="en-AU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luận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rằng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một</a:t>
            </a:r>
            <a:r>
              <a:rPr lang="en-AU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ngại</a:t>
            </a:r>
            <a:r>
              <a:rPr lang="en-AU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AU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US" sz="2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400" dirty="0" err="1">
                <a:latin typeface="Times New Roman" pitchFamily="18" charset="0"/>
                <a:cs typeface="Times New Roman" pitchFamily="18" charset="0"/>
              </a:rPr>
              <a:t>em</a:t>
            </a:r>
            <a:endParaRPr lang="en-AU" sz="2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D5E383C2-1142-A848-A948-7299CBC8802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78668834"/>
              </p:ext>
            </p:extLst>
          </p:nvPr>
        </p:nvGraphicFramePr>
        <p:xfrm>
          <a:off x="0" y="681036"/>
          <a:ext cx="12192000" cy="6176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7983220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926546-A724-FD4C-AD84-99006E9BC2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en-AU" sz="3200" dirty="0" err="1"/>
              <a:t>Các</a:t>
            </a:r>
            <a:r>
              <a:rPr lang="en-AU" sz="3200" dirty="0"/>
              <a:t> </a:t>
            </a:r>
            <a:r>
              <a:rPr lang="en-AU" sz="3200" dirty="0" err="1"/>
              <a:t>đặc</a:t>
            </a:r>
            <a:r>
              <a:rPr lang="en-AU" sz="3200" dirty="0"/>
              <a:t> </a:t>
            </a:r>
            <a:r>
              <a:rPr lang="en-AU" sz="3200" dirty="0" err="1"/>
              <a:t>tính</a:t>
            </a:r>
            <a:r>
              <a:rPr lang="en-AU" sz="3200" dirty="0"/>
              <a:t> </a:t>
            </a:r>
            <a:r>
              <a:rPr lang="en-AU" sz="3200" i="1" dirty="0" err="1"/>
              <a:t>thông</a:t>
            </a:r>
            <a:r>
              <a:rPr lang="en-AU" sz="3200" i="1" dirty="0"/>
              <a:t> </a:t>
            </a:r>
            <a:r>
              <a:rPr lang="en-AU" sz="3200" i="1" dirty="0" err="1"/>
              <a:t>th</a:t>
            </a:r>
            <a:r>
              <a:rPr lang="vi-VN" sz="3200" i="1" dirty="0"/>
              <a:t>ư</a:t>
            </a:r>
            <a:r>
              <a:rPr lang="en-US" sz="3200" i="1" dirty="0" err="1"/>
              <a:t>ờng</a:t>
            </a:r>
            <a:r>
              <a:rPr lang="en-AU" sz="3200" i="1" dirty="0"/>
              <a:t> </a:t>
            </a:r>
            <a:r>
              <a:rPr lang="en-AU" sz="3200" dirty="0" err="1"/>
              <a:t>giúp</a:t>
            </a:r>
            <a:r>
              <a:rPr lang="en-AU" sz="3200" dirty="0"/>
              <a:t> </a:t>
            </a:r>
            <a:r>
              <a:rPr lang="en-AU" sz="3200" dirty="0" err="1"/>
              <a:t>xác</a:t>
            </a:r>
            <a:r>
              <a:rPr lang="en-AU" sz="3200" dirty="0"/>
              <a:t> </a:t>
            </a:r>
            <a:r>
              <a:rPr lang="en-AU" sz="3200" dirty="0" err="1"/>
              <a:t>định</a:t>
            </a:r>
            <a:r>
              <a:rPr lang="en-AU" sz="3200" dirty="0"/>
              <a:t> </a:t>
            </a:r>
            <a:r>
              <a:rPr lang="en-AU" sz="3200" dirty="0" err="1"/>
              <a:t>một</a:t>
            </a:r>
            <a:r>
              <a:rPr lang="en-AU" sz="3200" dirty="0"/>
              <a:t> </a:t>
            </a:r>
            <a:r>
              <a:rPr lang="en-AU" sz="3200" dirty="0" err="1"/>
              <a:t>mối</a:t>
            </a:r>
            <a:r>
              <a:rPr lang="en-AU" sz="3200" dirty="0"/>
              <a:t> </a:t>
            </a:r>
            <a:r>
              <a:rPr lang="en-AU" sz="3200" dirty="0" err="1"/>
              <a:t>quan</a:t>
            </a:r>
            <a:r>
              <a:rPr lang="en-AU" sz="3200" dirty="0"/>
              <a:t> </a:t>
            </a:r>
            <a:r>
              <a:rPr lang="en-AU" sz="3200" dirty="0" err="1"/>
              <a:t>ngại</a:t>
            </a:r>
            <a:r>
              <a:rPr lang="en-AU" sz="3200" dirty="0"/>
              <a:t> </a:t>
            </a:r>
            <a:r>
              <a:rPr lang="en-AU" sz="3200" dirty="0" err="1"/>
              <a:t>về</a:t>
            </a:r>
            <a:r>
              <a:rPr lang="en-AU" sz="3200" dirty="0"/>
              <a:t> </a:t>
            </a:r>
            <a:r>
              <a:rPr lang="en-AU" sz="3200" dirty="0" err="1"/>
              <a:t>nhu</a:t>
            </a:r>
            <a:r>
              <a:rPr lang="en-AU" sz="3200" dirty="0"/>
              <a:t> </a:t>
            </a:r>
            <a:r>
              <a:rPr lang="en-AU" sz="3200" dirty="0" err="1"/>
              <a:t>cầu</a:t>
            </a:r>
            <a:r>
              <a:rPr lang="en-AU" sz="3200" dirty="0"/>
              <a:t> </a:t>
            </a:r>
            <a:r>
              <a:rPr lang="en-AU" sz="3200" dirty="0" err="1"/>
              <a:t>chăm</a:t>
            </a:r>
            <a:r>
              <a:rPr lang="en-AU" sz="3200" dirty="0"/>
              <a:t> </a:t>
            </a:r>
            <a:r>
              <a:rPr lang="en-AU" sz="3200" dirty="0" err="1"/>
              <a:t>sóc</a:t>
            </a:r>
            <a:r>
              <a:rPr lang="en-AU" sz="3200" dirty="0"/>
              <a:t> </a:t>
            </a:r>
            <a:r>
              <a:rPr lang="en-AU" sz="3200" dirty="0" err="1"/>
              <a:t>của</a:t>
            </a:r>
            <a:r>
              <a:rPr lang="en-AU" sz="3200" dirty="0"/>
              <a:t> </a:t>
            </a:r>
            <a:r>
              <a:rPr lang="en-AU" sz="3200" dirty="0" err="1"/>
              <a:t>trẻ</a:t>
            </a:r>
            <a:r>
              <a:rPr lang="en-AU" sz="3200" dirty="0"/>
              <a:t> </a:t>
            </a:r>
            <a:r>
              <a:rPr lang="en-AU" sz="3200" dirty="0" err="1"/>
              <a:t>là</a:t>
            </a:r>
            <a:r>
              <a:rPr lang="en-AU" sz="3200" dirty="0"/>
              <a:t> </a:t>
            </a:r>
            <a:r>
              <a:rPr lang="en-AU" sz="3200" dirty="0" err="1"/>
              <a:t>một</a:t>
            </a:r>
            <a:r>
              <a:rPr lang="en-AU" sz="3200" dirty="0"/>
              <a:t> </a:t>
            </a:r>
            <a:r>
              <a:rPr lang="en-AU" sz="3200" dirty="0" err="1"/>
              <a:t>cáo</a:t>
            </a:r>
            <a:r>
              <a:rPr lang="en-AU" sz="3200" dirty="0"/>
              <a:t> </a:t>
            </a:r>
            <a:r>
              <a:rPr lang="en-AU" sz="3200" dirty="0" err="1"/>
              <a:t>buộc</a:t>
            </a:r>
            <a:r>
              <a:rPr lang="en-AU" sz="3200" dirty="0"/>
              <a:t> </a:t>
            </a:r>
            <a:r>
              <a:rPr lang="en-AU" sz="3200" dirty="0" err="1"/>
              <a:t>về</a:t>
            </a:r>
            <a:r>
              <a:rPr lang="en-AU" sz="3200" dirty="0"/>
              <a:t> </a:t>
            </a:r>
            <a:r>
              <a:rPr lang="en-AU" sz="3200" dirty="0" err="1"/>
              <a:t>xâm</a:t>
            </a:r>
            <a:r>
              <a:rPr lang="en-AU" sz="3200" dirty="0"/>
              <a:t> </a:t>
            </a:r>
            <a:r>
              <a:rPr lang="en-AU" sz="3200" dirty="0" err="1"/>
              <a:t>hại</a:t>
            </a:r>
            <a:r>
              <a:rPr lang="en-US" sz="3200" dirty="0"/>
              <a:t> </a:t>
            </a:r>
            <a:r>
              <a:rPr lang="en-US" sz="3200" dirty="0" err="1"/>
              <a:t>trẻ</a:t>
            </a:r>
            <a:r>
              <a:rPr lang="en-US" sz="3200" dirty="0"/>
              <a:t> </a:t>
            </a:r>
            <a:r>
              <a:rPr lang="en-US" sz="3200" dirty="0" err="1"/>
              <a:t>em</a:t>
            </a:r>
            <a:endParaRPr lang="en-AU" sz="3200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2EB736A-05C6-5A4E-B9F3-7C78845193AC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0" y="1325562"/>
          <a:ext cx="12192000" cy="5532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07261598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7669B1-0E4A-5645-9ECA-80D48DB2F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896" y="18255"/>
            <a:ext cx="12053104" cy="1325563"/>
          </a:xfrm>
        </p:spPr>
        <p:txBody>
          <a:bodyPr>
            <a:normAutofit/>
          </a:bodyPr>
          <a:lstStyle/>
          <a:p>
            <a:pPr algn="ctr"/>
            <a:r>
              <a:rPr lang="vi-VN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Cố gắng </a:t>
            </a:r>
            <a:r>
              <a:rPr lang="en-US" sz="32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làm</a:t>
            </a:r>
            <a:r>
              <a:rPr lang="en-US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32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rõ</a:t>
            </a:r>
            <a:r>
              <a:rPr lang="vi-VN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 về những lo lắng</a:t>
            </a:r>
            <a:r>
              <a:rPr lang="en-US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/</a:t>
            </a:r>
            <a:r>
              <a:rPr lang="en-US" sz="32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quan</a:t>
            </a:r>
            <a:r>
              <a:rPr lang="en-US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32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ngại</a:t>
            </a:r>
            <a:r>
              <a:rPr lang="vi-VN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 của chúng t</a:t>
            </a:r>
            <a:r>
              <a:rPr lang="en-US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a</a:t>
            </a:r>
            <a:r>
              <a:rPr lang="vi-VN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 về </a:t>
            </a:r>
            <a:r>
              <a:rPr lang="en-US" sz="32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một</a:t>
            </a:r>
            <a:r>
              <a:rPr lang="en-US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sz="32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hành</a:t>
            </a:r>
            <a:r>
              <a:rPr lang="en-US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 vi</a:t>
            </a:r>
            <a:r>
              <a:rPr lang="vi-VN" sz="3200" dirty="0">
                <a:latin typeface="Calibri Light" panose="020F0302020204030204" pitchFamily="34" charset="0"/>
                <a:cs typeface="Calibri Light" panose="020F0302020204030204" pitchFamily="34" charset="0"/>
              </a:rPr>
              <a:t> xâm hại trẻ em có thể xảy ra</a:t>
            </a:r>
            <a:endParaRPr lang="en-AU" sz="3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259CA1E5-7CB7-5F4C-A87A-0D312C29B816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0" y="1238491"/>
          <a:ext cx="12192000" cy="56012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80154913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ỗ dành sẵn cho Nội dung 2">
            <a:extLst>
              <a:ext uri="{FF2B5EF4-FFF2-40B4-BE49-F238E27FC236}">
                <a16:creationId xmlns:a16="http://schemas.microsoft.com/office/drawing/2014/main" id="{422F0465-1333-41F4-8ED5-274A298DFF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3775" y="501445"/>
            <a:ext cx="10364452" cy="528975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en-US" sz="4000" dirty="0"/>
          </a:p>
          <a:p>
            <a:pPr marL="0" indent="0" algn="ctr">
              <a:buNone/>
            </a:pPr>
            <a:endParaRPr lang="en-US" sz="4000" dirty="0"/>
          </a:p>
          <a:p>
            <a:pPr marL="0" indent="0" algn="ctr">
              <a:buNone/>
            </a:pPr>
            <a:r>
              <a:rPr lang="en-US" sz="4000" dirty="0" err="1"/>
              <a:t>Quy</a:t>
            </a:r>
            <a:r>
              <a:rPr lang="en-US" sz="4000" dirty="0"/>
              <a:t> </a:t>
            </a:r>
            <a:r>
              <a:rPr lang="en-US" sz="4000" dirty="0" err="1"/>
              <a:t>trình</a:t>
            </a:r>
            <a:r>
              <a:rPr lang="en-US" sz="4000" dirty="0"/>
              <a:t> </a:t>
            </a:r>
            <a:r>
              <a:rPr lang="en-US" sz="4000" dirty="0" err="1"/>
              <a:t>tố</a:t>
            </a:r>
            <a:r>
              <a:rPr lang="en-US" sz="4000" dirty="0"/>
              <a:t> </a:t>
            </a:r>
            <a:r>
              <a:rPr lang="en-US" sz="4000" dirty="0" err="1"/>
              <a:t>cáo</a:t>
            </a:r>
            <a:r>
              <a:rPr lang="en-US" sz="4000" dirty="0"/>
              <a:t> tr</a:t>
            </a:r>
            <a:r>
              <a:rPr lang="vi-VN" sz="4000" dirty="0"/>
              <a:t>ư</a:t>
            </a:r>
            <a:r>
              <a:rPr lang="en-US" sz="4000" dirty="0" err="1"/>
              <a:t>ờng</a:t>
            </a:r>
            <a:r>
              <a:rPr lang="en-US" sz="4000" dirty="0"/>
              <a:t> </a:t>
            </a:r>
            <a:r>
              <a:rPr lang="en-US" sz="4000" dirty="0" err="1"/>
              <a:t>hợp</a:t>
            </a:r>
            <a:r>
              <a:rPr lang="en-US" sz="4000" dirty="0"/>
              <a:t> </a:t>
            </a:r>
            <a:r>
              <a:rPr lang="en-US" sz="4000" dirty="0" err="1"/>
              <a:t>trẻ</a:t>
            </a:r>
            <a:r>
              <a:rPr lang="en-US" sz="4000" dirty="0"/>
              <a:t> </a:t>
            </a:r>
            <a:r>
              <a:rPr lang="en-US" sz="4000" dirty="0" err="1"/>
              <a:t>em</a:t>
            </a:r>
            <a:r>
              <a:rPr lang="en-US" sz="4000" dirty="0"/>
              <a:t> </a:t>
            </a:r>
            <a:r>
              <a:rPr lang="en-US" sz="4000" dirty="0" err="1"/>
              <a:t>bị</a:t>
            </a:r>
            <a:r>
              <a:rPr lang="en-US" sz="4000" dirty="0"/>
              <a:t> </a:t>
            </a:r>
            <a:r>
              <a:rPr lang="en-US" sz="4000" dirty="0" err="1"/>
              <a:t>xâm</a:t>
            </a:r>
            <a:r>
              <a:rPr lang="en-US" sz="4000" dirty="0"/>
              <a:t> </a:t>
            </a:r>
            <a:r>
              <a:rPr lang="en-US" sz="4000" dirty="0" err="1"/>
              <a:t>hại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2807583575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B3DD1F-6571-0143-B380-3A1B494CCF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896" y="1"/>
            <a:ext cx="11214904" cy="810228"/>
          </a:xfrm>
        </p:spPr>
        <p:txBody>
          <a:bodyPr>
            <a:normAutofit fontScale="90000"/>
          </a:bodyPr>
          <a:lstStyle/>
          <a:p>
            <a:pPr algn="ctr"/>
            <a:b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1: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Vai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trò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của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3200" dirty="0" err="1">
                <a:latin typeface="Arial" panose="020B0604020202020204" pitchFamily="34" charset="0"/>
                <a:cs typeface="Arial" panose="020B0604020202020204" pitchFamily="34" charset="0"/>
              </a:rPr>
              <a:t>việc</a:t>
            </a:r>
            <a: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  <a:t> TỐ CÁO.     </a:t>
            </a:r>
            <a:br>
              <a:rPr lang="en-AU" sz="32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A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3FA5B3-7FFB-8B4E-9EDD-35AB4B410D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006998"/>
            <a:ext cx="12192000" cy="5851002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AU" dirty="0"/>
              <a:t>ĐỊNH NGHĨA</a:t>
            </a:r>
          </a:p>
          <a:p>
            <a:r>
              <a:rPr lang="en-AU" dirty="0" err="1"/>
              <a:t>Tố</a:t>
            </a:r>
            <a:r>
              <a:rPr lang="en-AU" dirty="0"/>
              <a:t> </a:t>
            </a:r>
            <a:r>
              <a:rPr lang="en-AU" dirty="0" err="1"/>
              <a:t>cáo</a:t>
            </a:r>
            <a:r>
              <a:rPr lang="en-AU" dirty="0"/>
              <a:t> </a:t>
            </a:r>
            <a:r>
              <a:rPr lang="en-AU" dirty="0" err="1"/>
              <a:t>trường</a:t>
            </a:r>
            <a:r>
              <a:rPr lang="en-AU" dirty="0"/>
              <a:t> </a:t>
            </a:r>
            <a:r>
              <a:rPr lang="en-AU" dirty="0" err="1"/>
              <a:t>hợp</a:t>
            </a:r>
            <a:r>
              <a:rPr lang="en-AU" dirty="0"/>
              <a:t> </a:t>
            </a:r>
            <a:r>
              <a:rPr lang="en-AU" dirty="0" err="1"/>
              <a:t>xâm</a:t>
            </a:r>
            <a:r>
              <a:rPr lang="en-AU" dirty="0"/>
              <a:t> </a:t>
            </a:r>
            <a:r>
              <a:rPr lang="en-AU" dirty="0" err="1"/>
              <a:t>hại</a:t>
            </a:r>
            <a:r>
              <a:rPr lang="en-AU" dirty="0"/>
              <a:t> TE </a:t>
            </a:r>
            <a:r>
              <a:rPr lang="en-AU" dirty="0" err="1"/>
              <a:t>xảy</a:t>
            </a:r>
            <a:r>
              <a:rPr lang="en-AU" dirty="0"/>
              <a:t> ra </a:t>
            </a:r>
            <a:r>
              <a:rPr lang="en-AU" dirty="0" err="1"/>
              <a:t>khi</a:t>
            </a:r>
            <a:r>
              <a:rPr lang="en-AU" dirty="0"/>
              <a:t> </a:t>
            </a:r>
            <a:r>
              <a:rPr lang="en-AU" dirty="0" err="1"/>
              <a:t>một</a:t>
            </a:r>
            <a:r>
              <a:rPr lang="en-AU" dirty="0"/>
              <a:t> </a:t>
            </a:r>
            <a:r>
              <a:rPr lang="en-AU" dirty="0" err="1"/>
              <a:t>thành</a:t>
            </a:r>
            <a:r>
              <a:rPr lang="en-AU" dirty="0"/>
              <a:t> </a:t>
            </a:r>
            <a:r>
              <a:rPr lang="en-AU" dirty="0" err="1"/>
              <a:t>viên</a:t>
            </a:r>
            <a:r>
              <a:rPr lang="en-AU" dirty="0"/>
              <a:t> </a:t>
            </a:r>
            <a:r>
              <a:rPr lang="en-AU" dirty="0" err="1"/>
              <a:t>của</a:t>
            </a:r>
            <a:r>
              <a:rPr lang="en-AU" dirty="0"/>
              <a:t> </a:t>
            </a:r>
            <a:r>
              <a:rPr lang="en-AU" dirty="0" err="1"/>
              <a:t>cộng</a:t>
            </a:r>
            <a:r>
              <a:rPr lang="en-AU" dirty="0"/>
              <a:t> </a:t>
            </a:r>
            <a:r>
              <a:rPr lang="en-AU" dirty="0" err="1"/>
              <a:t>đồng</a:t>
            </a:r>
            <a:r>
              <a:rPr lang="en-AU" dirty="0"/>
              <a:t>, </a:t>
            </a:r>
            <a:r>
              <a:rPr lang="en-AU" dirty="0" err="1"/>
              <a:t>hoặc</a:t>
            </a:r>
            <a:r>
              <a:rPr lang="en-AU" dirty="0"/>
              <a:t> </a:t>
            </a:r>
            <a:r>
              <a:rPr lang="en-AU" dirty="0" err="1"/>
              <a:t>một</a:t>
            </a:r>
            <a:r>
              <a:rPr lang="en-AU" dirty="0"/>
              <a:t> </a:t>
            </a:r>
            <a:r>
              <a:rPr lang="en-AU" dirty="0" err="1"/>
              <a:t>người</a:t>
            </a:r>
            <a:r>
              <a:rPr lang="en-AU" dirty="0"/>
              <a:t> </a:t>
            </a:r>
            <a:r>
              <a:rPr lang="en-AU" dirty="0" err="1"/>
              <a:t>giữ</a:t>
            </a:r>
            <a:r>
              <a:rPr lang="en-AU" dirty="0"/>
              <a:t> </a:t>
            </a:r>
            <a:r>
              <a:rPr lang="en-AU" dirty="0" err="1"/>
              <a:t>vai</a:t>
            </a:r>
            <a:r>
              <a:rPr lang="en-AU" dirty="0"/>
              <a:t> </a:t>
            </a:r>
            <a:r>
              <a:rPr lang="en-AU" dirty="0" err="1"/>
              <a:t>trò</a:t>
            </a:r>
            <a:r>
              <a:rPr lang="en-AU" dirty="0"/>
              <a:t> </a:t>
            </a:r>
            <a:r>
              <a:rPr lang="en-AU" dirty="0" err="1"/>
              <a:t>chuyên</a:t>
            </a:r>
            <a:r>
              <a:rPr lang="en-AU" dirty="0"/>
              <a:t> </a:t>
            </a:r>
            <a:r>
              <a:rPr lang="en-AU" dirty="0" err="1"/>
              <a:t>môn</a:t>
            </a:r>
            <a:r>
              <a:rPr lang="en-AU" dirty="0"/>
              <a:t> </a:t>
            </a:r>
            <a:r>
              <a:rPr lang="en-AU" dirty="0" err="1"/>
              <a:t>làm</a:t>
            </a:r>
            <a:r>
              <a:rPr lang="en-AU" dirty="0"/>
              <a:t> </a:t>
            </a:r>
            <a:r>
              <a:rPr lang="en-AU" dirty="0" err="1"/>
              <a:t>việc</a:t>
            </a:r>
            <a:r>
              <a:rPr lang="en-AU" dirty="0"/>
              <a:t> </a:t>
            </a:r>
            <a:r>
              <a:rPr lang="en-AU" dirty="0" err="1"/>
              <a:t>với</a:t>
            </a:r>
            <a:r>
              <a:rPr lang="en-AU" dirty="0"/>
              <a:t> </a:t>
            </a:r>
            <a:r>
              <a:rPr lang="en-AU" dirty="0" err="1"/>
              <a:t>trẻ</a:t>
            </a:r>
            <a:r>
              <a:rPr lang="en-AU" dirty="0"/>
              <a:t> </a:t>
            </a:r>
            <a:r>
              <a:rPr lang="en-AU" dirty="0" err="1"/>
              <a:t>em</a:t>
            </a:r>
            <a:r>
              <a:rPr lang="en-AU" dirty="0"/>
              <a:t> </a:t>
            </a:r>
            <a:r>
              <a:rPr lang="en-AU" dirty="0" err="1"/>
              <a:t>và</a:t>
            </a:r>
            <a:r>
              <a:rPr lang="en-AU" dirty="0"/>
              <a:t> </a:t>
            </a:r>
            <a:r>
              <a:rPr lang="en-AU" dirty="0" err="1"/>
              <a:t>gia</a:t>
            </a:r>
            <a:r>
              <a:rPr lang="en-AU" dirty="0"/>
              <a:t> </a:t>
            </a:r>
            <a:r>
              <a:rPr lang="en-AU" dirty="0" err="1"/>
              <a:t>đình</a:t>
            </a:r>
            <a:r>
              <a:rPr lang="en-AU" dirty="0"/>
              <a:t> </a:t>
            </a:r>
            <a:r>
              <a:rPr lang="en-AU" dirty="0" err="1"/>
              <a:t>hoặc</a:t>
            </a:r>
            <a:r>
              <a:rPr lang="en-AU" dirty="0"/>
              <a:t> </a:t>
            </a:r>
            <a:r>
              <a:rPr lang="en-AU" dirty="0" err="1"/>
              <a:t>các</a:t>
            </a:r>
            <a:r>
              <a:rPr lang="en-AU" dirty="0"/>
              <a:t> </a:t>
            </a:r>
            <a:r>
              <a:rPr lang="en-AU" dirty="0" err="1"/>
              <a:t>dịch</a:t>
            </a:r>
            <a:r>
              <a:rPr lang="en-AU" dirty="0"/>
              <a:t> </a:t>
            </a:r>
            <a:r>
              <a:rPr lang="en-AU" dirty="0" err="1"/>
              <a:t>vụ</a:t>
            </a:r>
            <a:r>
              <a:rPr lang="en-AU" dirty="0"/>
              <a:t> </a:t>
            </a:r>
            <a:r>
              <a:rPr lang="en-AU" dirty="0" err="1"/>
              <a:t>khác</a:t>
            </a:r>
            <a:r>
              <a:rPr lang="en-AU" dirty="0"/>
              <a:t> </a:t>
            </a:r>
            <a:r>
              <a:rPr lang="en-AU" dirty="0" err="1"/>
              <a:t>có</a:t>
            </a:r>
            <a:r>
              <a:rPr lang="en-AU" dirty="0"/>
              <a:t> </a:t>
            </a:r>
            <a:r>
              <a:rPr lang="en-AU" dirty="0" err="1"/>
              <a:t>thông</a:t>
            </a:r>
            <a:r>
              <a:rPr lang="en-AU" dirty="0"/>
              <a:t> </a:t>
            </a:r>
            <a:r>
              <a:rPr lang="en-AU" dirty="0" err="1"/>
              <a:t>báo</a:t>
            </a:r>
            <a:r>
              <a:rPr lang="en-AU" dirty="0"/>
              <a:t> </a:t>
            </a:r>
            <a:r>
              <a:rPr lang="en-AU" dirty="0" err="1"/>
              <a:t>hoặc</a:t>
            </a:r>
            <a:r>
              <a:rPr lang="en-AU" dirty="0"/>
              <a:t> </a:t>
            </a:r>
            <a:r>
              <a:rPr lang="en-AU" dirty="0" err="1"/>
              <a:t>là</a:t>
            </a:r>
            <a:r>
              <a:rPr lang="en-AU" dirty="0"/>
              <a:t> </a:t>
            </a:r>
            <a:r>
              <a:rPr lang="en-AU" dirty="0" err="1"/>
              <a:t>trực</a:t>
            </a:r>
            <a:r>
              <a:rPr lang="en-AU" dirty="0"/>
              <a:t> </a:t>
            </a:r>
            <a:r>
              <a:rPr lang="en-AU" dirty="0" err="1"/>
              <a:t>tiếp</a:t>
            </a:r>
            <a:r>
              <a:rPr lang="en-AU" dirty="0"/>
              <a:t> </a:t>
            </a:r>
            <a:r>
              <a:rPr lang="en-AU" dirty="0" err="1"/>
              <a:t>tới</a:t>
            </a:r>
            <a:r>
              <a:rPr lang="en-AU" dirty="0"/>
              <a:t> </a:t>
            </a:r>
            <a:r>
              <a:rPr lang="en-AU" dirty="0" err="1"/>
              <a:t>người</a:t>
            </a:r>
            <a:r>
              <a:rPr lang="en-AU" dirty="0"/>
              <a:t> </a:t>
            </a:r>
            <a:r>
              <a:rPr lang="en-AU" dirty="0" err="1"/>
              <a:t>phụ</a:t>
            </a:r>
            <a:r>
              <a:rPr lang="en-AU" dirty="0"/>
              <a:t> </a:t>
            </a:r>
            <a:r>
              <a:rPr lang="en-AU" dirty="0" err="1"/>
              <a:t>trách</a:t>
            </a:r>
            <a:r>
              <a:rPr lang="en-AU" dirty="0"/>
              <a:t> CT BVTE (CB BVTE) </a:t>
            </a:r>
            <a:r>
              <a:rPr lang="en-AU" dirty="0" err="1"/>
              <a:t>hoặc</a:t>
            </a:r>
            <a:r>
              <a:rPr lang="en-AU" dirty="0"/>
              <a:t> </a:t>
            </a:r>
            <a:r>
              <a:rPr lang="en-AU" dirty="0" err="1"/>
              <a:t>gián</a:t>
            </a:r>
            <a:r>
              <a:rPr lang="en-AU" dirty="0"/>
              <a:t> </a:t>
            </a:r>
            <a:r>
              <a:rPr lang="en-AU" dirty="0" err="1"/>
              <a:t>tiếp</a:t>
            </a:r>
            <a:r>
              <a:rPr lang="en-AU" dirty="0"/>
              <a:t> </a:t>
            </a:r>
            <a:r>
              <a:rPr lang="en-AU" dirty="0" err="1"/>
              <a:t>tới</a:t>
            </a:r>
            <a:r>
              <a:rPr lang="en-AU" dirty="0"/>
              <a:t> </a:t>
            </a:r>
            <a:r>
              <a:rPr lang="en-AU" dirty="0" err="1"/>
              <a:t>người</a:t>
            </a:r>
            <a:r>
              <a:rPr lang="en-AU" dirty="0"/>
              <a:t> </a:t>
            </a:r>
            <a:r>
              <a:rPr lang="en-AU" dirty="0" err="1"/>
              <a:t>khác</a:t>
            </a:r>
            <a:r>
              <a:rPr lang="en-AU" dirty="0"/>
              <a:t> </a:t>
            </a:r>
            <a:r>
              <a:rPr lang="en-AU" dirty="0" err="1"/>
              <a:t>và</a:t>
            </a:r>
            <a:r>
              <a:rPr lang="en-AU" dirty="0"/>
              <a:t> </a:t>
            </a:r>
            <a:r>
              <a:rPr lang="en-AU" dirty="0" err="1"/>
              <a:t>sau</a:t>
            </a:r>
            <a:r>
              <a:rPr lang="en-AU" dirty="0"/>
              <a:t> </a:t>
            </a:r>
            <a:r>
              <a:rPr lang="en-AU" dirty="0" err="1"/>
              <a:t>đó</a:t>
            </a:r>
            <a:r>
              <a:rPr lang="en-AU" dirty="0"/>
              <a:t> </a:t>
            </a:r>
            <a:r>
              <a:rPr lang="en-AU" dirty="0" err="1"/>
              <a:t>người</a:t>
            </a:r>
            <a:r>
              <a:rPr lang="en-AU" dirty="0"/>
              <a:t> </a:t>
            </a:r>
            <a:r>
              <a:rPr lang="en-AU" dirty="0" err="1"/>
              <a:t>này</a:t>
            </a:r>
            <a:r>
              <a:rPr lang="en-AU" dirty="0"/>
              <a:t> </a:t>
            </a:r>
            <a:r>
              <a:rPr lang="en-AU" dirty="0" err="1"/>
              <a:t>thông</a:t>
            </a:r>
            <a:r>
              <a:rPr lang="en-AU" dirty="0"/>
              <a:t> </a:t>
            </a:r>
            <a:r>
              <a:rPr lang="en-AU" dirty="0" err="1"/>
              <a:t>báo</a:t>
            </a:r>
            <a:r>
              <a:rPr lang="en-AU" dirty="0"/>
              <a:t> </a:t>
            </a:r>
            <a:r>
              <a:rPr lang="en-AU" dirty="0" err="1"/>
              <a:t>tới</a:t>
            </a:r>
            <a:r>
              <a:rPr lang="en-AU" dirty="0"/>
              <a:t> CB BVTE </a:t>
            </a:r>
            <a:r>
              <a:rPr lang="en-AU" dirty="0" err="1"/>
              <a:t>được</a:t>
            </a:r>
            <a:r>
              <a:rPr lang="en-AU" dirty="0"/>
              <a:t> </a:t>
            </a:r>
            <a:r>
              <a:rPr lang="en-AU" dirty="0" err="1"/>
              <a:t>chỉ</a:t>
            </a:r>
            <a:r>
              <a:rPr lang="en-AU" dirty="0"/>
              <a:t> </a:t>
            </a:r>
            <a:r>
              <a:rPr lang="en-AU" dirty="0" err="1"/>
              <a:t>định</a:t>
            </a:r>
            <a:r>
              <a:rPr lang="en-AU" dirty="0"/>
              <a:t>, </a:t>
            </a:r>
            <a:r>
              <a:rPr lang="en-AU" dirty="0" err="1"/>
              <a:t>về</a:t>
            </a:r>
            <a:r>
              <a:rPr lang="en-AU" dirty="0"/>
              <a:t> </a:t>
            </a:r>
            <a:r>
              <a:rPr lang="en-AU" dirty="0" err="1"/>
              <a:t>những</a:t>
            </a:r>
            <a:r>
              <a:rPr lang="en-AU" dirty="0"/>
              <a:t> </a:t>
            </a:r>
            <a:r>
              <a:rPr lang="en-AU" dirty="0" err="1"/>
              <a:t>nghi</a:t>
            </a:r>
            <a:r>
              <a:rPr lang="en-AU" dirty="0"/>
              <a:t> </a:t>
            </a:r>
            <a:r>
              <a:rPr lang="en-AU" dirty="0" err="1"/>
              <a:t>ngại</a:t>
            </a:r>
            <a:r>
              <a:rPr lang="en-AU" dirty="0"/>
              <a:t> </a:t>
            </a:r>
            <a:r>
              <a:rPr lang="en-AU" dirty="0" err="1"/>
              <a:t>liên</a:t>
            </a:r>
            <a:r>
              <a:rPr lang="en-AU" dirty="0"/>
              <a:t> </a:t>
            </a:r>
            <a:r>
              <a:rPr lang="en-AU" dirty="0" err="1"/>
              <a:t>quan</a:t>
            </a:r>
            <a:r>
              <a:rPr lang="en-AU" dirty="0"/>
              <a:t> </a:t>
            </a:r>
            <a:r>
              <a:rPr lang="en-AU" dirty="0" err="1"/>
              <a:t>một</a:t>
            </a:r>
            <a:r>
              <a:rPr lang="en-AU" dirty="0"/>
              <a:t> </a:t>
            </a:r>
            <a:r>
              <a:rPr lang="en-AU" dirty="0" err="1"/>
              <a:t>hoặc</a:t>
            </a:r>
            <a:r>
              <a:rPr lang="en-AU" dirty="0"/>
              <a:t> </a:t>
            </a:r>
            <a:r>
              <a:rPr lang="en-AU" dirty="0" err="1"/>
              <a:t>một</a:t>
            </a:r>
            <a:r>
              <a:rPr lang="en-AU" dirty="0"/>
              <a:t> </a:t>
            </a:r>
            <a:r>
              <a:rPr lang="en-AU" dirty="0" err="1"/>
              <a:t>vài</a:t>
            </a:r>
            <a:r>
              <a:rPr lang="en-AU" dirty="0"/>
              <a:t> </a:t>
            </a:r>
            <a:r>
              <a:rPr lang="en-AU" dirty="0" err="1"/>
              <a:t>trẻ</a:t>
            </a:r>
            <a:r>
              <a:rPr lang="en-AU" dirty="0"/>
              <a:t> </a:t>
            </a:r>
            <a:r>
              <a:rPr lang="en-AU" dirty="0" err="1"/>
              <a:t>em</a:t>
            </a:r>
            <a:r>
              <a:rPr lang="en-AU" dirty="0"/>
              <a:t>.</a:t>
            </a:r>
          </a:p>
          <a:p>
            <a:r>
              <a:rPr lang="en-AU" dirty="0" err="1"/>
              <a:t>Khi</a:t>
            </a:r>
            <a:r>
              <a:rPr lang="en-AU" dirty="0"/>
              <a:t> </a:t>
            </a:r>
            <a:r>
              <a:rPr lang="en-AU" dirty="0" err="1"/>
              <a:t>thực</a:t>
            </a:r>
            <a:r>
              <a:rPr lang="en-AU" dirty="0"/>
              <a:t> </a:t>
            </a:r>
            <a:r>
              <a:rPr lang="en-AU" dirty="0" err="1"/>
              <a:t>hiện</a:t>
            </a:r>
            <a:r>
              <a:rPr lang="en-AU" dirty="0"/>
              <a:t> </a:t>
            </a:r>
            <a:r>
              <a:rPr lang="en-AU" dirty="0" err="1"/>
              <a:t>tố</a:t>
            </a:r>
            <a:r>
              <a:rPr lang="en-AU" dirty="0"/>
              <a:t> </a:t>
            </a:r>
            <a:r>
              <a:rPr lang="en-AU" dirty="0" err="1"/>
              <a:t>cáo</a:t>
            </a:r>
            <a:r>
              <a:rPr lang="en-AU" dirty="0"/>
              <a:t> </a:t>
            </a:r>
            <a:r>
              <a:rPr lang="en-AU" dirty="0" err="1"/>
              <a:t>nghĩa</a:t>
            </a:r>
            <a:r>
              <a:rPr lang="en-AU" dirty="0"/>
              <a:t> </a:t>
            </a:r>
            <a:r>
              <a:rPr lang="en-AU" dirty="0" err="1"/>
              <a:t>là</a:t>
            </a:r>
            <a:r>
              <a:rPr lang="en-AU" dirty="0"/>
              <a:t> 1 </a:t>
            </a:r>
            <a:r>
              <a:rPr lang="en-AU" dirty="0" err="1"/>
              <a:t>người</a:t>
            </a:r>
            <a:r>
              <a:rPr lang="en-AU" dirty="0"/>
              <a:t> </a:t>
            </a:r>
            <a:r>
              <a:rPr lang="en-AU" dirty="0" err="1"/>
              <a:t>thông</a:t>
            </a:r>
            <a:r>
              <a:rPr lang="en-AU" dirty="0"/>
              <a:t> </a:t>
            </a:r>
            <a:r>
              <a:rPr lang="en-AU" dirty="0" err="1"/>
              <a:t>báo</a:t>
            </a:r>
            <a:r>
              <a:rPr lang="en-AU" dirty="0"/>
              <a:t> </a:t>
            </a:r>
            <a:r>
              <a:rPr lang="en-AU" dirty="0" err="1"/>
              <a:t>với</a:t>
            </a:r>
            <a:r>
              <a:rPr lang="en-AU" dirty="0"/>
              <a:t> CB BVTE </a:t>
            </a:r>
            <a:r>
              <a:rPr lang="en-AU" dirty="0" err="1"/>
              <a:t>những</a:t>
            </a:r>
            <a:r>
              <a:rPr lang="en-AU" dirty="0"/>
              <a:t> </a:t>
            </a:r>
            <a:r>
              <a:rPr lang="en-AU" dirty="0" err="1"/>
              <a:t>gì</a:t>
            </a:r>
            <a:r>
              <a:rPr lang="en-AU" dirty="0"/>
              <a:t> </a:t>
            </a:r>
            <a:r>
              <a:rPr lang="en-AU" dirty="0" err="1"/>
              <a:t>họ</a:t>
            </a:r>
            <a:r>
              <a:rPr lang="en-AU" dirty="0"/>
              <a:t> </a:t>
            </a:r>
            <a:r>
              <a:rPr lang="en-AU" dirty="0" err="1"/>
              <a:t>biết</a:t>
            </a:r>
            <a:r>
              <a:rPr lang="en-AU" dirty="0"/>
              <a:t> </a:t>
            </a:r>
            <a:r>
              <a:rPr lang="en-AU" dirty="0" err="1"/>
              <a:t>về</a:t>
            </a:r>
            <a:r>
              <a:rPr lang="en-AU" dirty="0"/>
              <a:t> </a:t>
            </a:r>
            <a:r>
              <a:rPr lang="en-AU" dirty="0" err="1"/>
              <a:t>đứa</a:t>
            </a:r>
            <a:r>
              <a:rPr lang="en-AU" dirty="0"/>
              <a:t> </a:t>
            </a:r>
            <a:r>
              <a:rPr lang="en-AU" dirty="0" err="1"/>
              <a:t>trẻ</a:t>
            </a:r>
            <a:r>
              <a:rPr lang="en-AU" dirty="0"/>
              <a:t> </a:t>
            </a:r>
            <a:r>
              <a:rPr lang="en-AU" dirty="0" err="1"/>
              <a:t>và</a:t>
            </a:r>
            <a:r>
              <a:rPr lang="en-AU" dirty="0"/>
              <a:t> </a:t>
            </a:r>
            <a:r>
              <a:rPr lang="en-AU" dirty="0" err="1"/>
              <a:t>tình</a:t>
            </a:r>
            <a:r>
              <a:rPr lang="en-AU" dirty="0"/>
              <a:t> </a:t>
            </a:r>
            <a:r>
              <a:rPr lang="en-AU" dirty="0" err="1"/>
              <a:t>huống</a:t>
            </a:r>
            <a:r>
              <a:rPr lang="en-AU" dirty="0"/>
              <a:t> </a:t>
            </a:r>
            <a:r>
              <a:rPr lang="en-AU" dirty="0" err="1"/>
              <a:t>xảy</a:t>
            </a:r>
            <a:r>
              <a:rPr lang="en-AU" dirty="0"/>
              <a:t> ra. </a:t>
            </a:r>
          </a:p>
          <a:p>
            <a:endParaRPr lang="en-AU" dirty="0"/>
          </a:p>
          <a:p>
            <a:pPr algn="ctr"/>
            <a:r>
              <a:rPr lang="en-AU" dirty="0"/>
              <a:t>NẾU KHÔNG CÓ TIẾN TRÌNH TỐ CÁO ĐƯỢC THỰC HIỆN MỘT CÁCH ĐÚNG ĐẮN THÌ CÁC DỊCH VỤ BVTE CHÍNH THỐNG KHÔNG THỂ HỖ TRỢ PHÙ HỢP ĐƯỢC.</a:t>
            </a:r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849245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84000"/>
                <a:shade val="100000"/>
                <a:hueMod val="92000"/>
                <a:satMod val="180000"/>
                <a:lumMod val="114000"/>
              </a:schemeClr>
            </a:gs>
            <a:gs pos="100000">
              <a:schemeClr val="bg2">
                <a:shade val="92000"/>
                <a:satMod val="170000"/>
                <a:lumMod val="96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B6A7BFB-3BBE-4C11-93FC-A6557BD113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59935" y="0"/>
            <a:ext cx="813206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70CA7A26-553C-443C-9A3D-2A2529D4591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059935" cy="6858000"/>
          </a:xfrm>
          <a:prstGeom prst="rect">
            <a:avLst/>
          </a:prstGeom>
          <a:ln>
            <a:noFill/>
          </a:ln>
          <a:effectLst>
            <a:outerShdw blurRad="50800" dist="127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êu đề 1">
            <a:extLst>
              <a:ext uri="{FF2B5EF4-FFF2-40B4-BE49-F238E27FC236}">
                <a16:creationId xmlns:a16="http://schemas.microsoft.com/office/drawing/2014/main" id="{A7B57B6B-6187-4819-97A6-36D378C01A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1074" y="1314450"/>
            <a:ext cx="2844002" cy="3680244"/>
          </a:xfrm>
        </p:spPr>
        <p:txBody>
          <a:bodyPr>
            <a:normAutofit/>
          </a:bodyPr>
          <a:lstStyle/>
          <a:p>
            <a:r>
              <a:rPr lang="en-US" sz="4400" dirty="0" err="1">
                <a:latin typeface="Times New Roman" pitchFamily="18" charset="0"/>
                <a:cs typeface="Times New Roman" pitchFamily="18" charset="0"/>
              </a:rPr>
              <a:t>Tầm</a:t>
            </a:r>
            <a:r>
              <a:rPr lang="en-US" sz="4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4400" dirty="0" err="1"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US" sz="4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4400" dirty="0" err="1">
                <a:latin typeface="Times New Roman" pitchFamily="18" charset="0"/>
                <a:cs typeface="Times New Roman" pitchFamily="18" charset="0"/>
              </a:rPr>
              <a:t>trọng</a:t>
            </a:r>
            <a:r>
              <a:rPr lang="en-US" sz="4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4400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US" sz="4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4400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US" sz="4400" dirty="0">
                <a:latin typeface="Times New Roman" pitchFamily="18" charset="0"/>
                <a:cs typeface="Times New Roman" pitchFamily="18" charset="0"/>
              </a:rPr>
              <a:t> BVT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67E268D-B340-41B0-B037-2F3FC25BC7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700" b="77917"/>
          <a:stretch/>
        </p:blipFill>
        <p:spPr>
          <a:xfrm>
            <a:off x="0" y="0"/>
            <a:ext cx="4059935" cy="151447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BB0BCA0-9493-46B4-B955-8FBF028730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750" t="72830" b="14149"/>
          <a:stretch/>
        </p:blipFill>
        <p:spPr>
          <a:xfrm>
            <a:off x="1377059" y="5962903"/>
            <a:ext cx="2590800" cy="892925"/>
          </a:xfrm>
          <a:prstGeom prst="rect">
            <a:avLst/>
          </a:prstGeom>
        </p:spPr>
      </p:pic>
      <p:graphicFrame>
        <p:nvGraphicFramePr>
          <p:cNvPr id="4" name="Chỗ dành sẵn cho Nội dung 3">
            <a:extLst>
              <a:ext uri="{FF2B5EF4-FFF2-40B4-BE49-F238E27FC236}">
                <a16:creationId xmlns:a16="http://schemas.microsoft.com/office/drawing/2014/main" id="{82B0E3F8-65FF-405F-84D8-3C6D8F6A9F8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16647342"/>
              </p:ext>
            </p:extLst>
          </p:nvPr>
        </p:nvGraphicFramePr>
        <p:xfrm>
          <a:off x="4152011" y="0"/>
          <a:ext cx="7849489" cy="6756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2004252128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9FC3AA-529C-BC45-88AB-3B437E08E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99746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Bắt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buộ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báo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[TỐ CÁO]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rường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24C9A7-C374-E34C-954D-92B1E99753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526" y="995424"/>
            <a:ext cx="12002947" cy="6371862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Autofit/>
          </a:bodyPr>
          <a:lstStyle/>
          <a:p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Ở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nhiều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quốc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gia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rên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hế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giới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luật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BVTE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hực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hi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bao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gồm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Một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vài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nhóm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chuyên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môn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xã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hội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bác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sĩ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nhân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viên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CTXH, y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á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giáo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viên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nhà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âm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lý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nhà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ham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vấn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en-AU" sz="2800" b="1" dirty="0" err="1">
                <a:latin typeface="Times New Roman" pitchFamily="18" charset="0"/>
                <a:cs typeface="Times New Roman" pitchFamily="18" charset="0"/>
              </a:rPr>
              <a:t>bắt</a:t>
            </a:r>
            <a:r>
              <a:rPr lang="en-AU" sz="28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b="1" dirty="0" err="1">
                <a:latin typeface="Times New Roman" pitchFamily="18" charset="0"/>
                <a:cs typeface="Times New Roman" pitchFamily="18" charset="0"/>
              </a:rPr>
              <a:t>buộc</a:t>
            </a:r>
            <a:r>
              <a:rPr lang="en-AU" sz="28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phải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báo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dịch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vụ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BVTE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chính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phủ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lvl="1"/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nghi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ngại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rường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TE</a:t>
            </a:r>
          </a:p>
          <a:p>
            <a:pPr lvl="1"/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nghi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ngại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bạo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hành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em</a:t>
            </a:r>
            <a:endParaRPr lang="en-AU" sz="28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Nhiều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quốc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gia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luật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bắt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buộc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ố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cũng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chương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rình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giáo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dục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cộng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đồng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chặt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chẽ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hướng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dẫn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dân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cộng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đồng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ổ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chức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ố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ngại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TE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CB BVTE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chính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latin typeface="Times New Roman" pitchFamily="18" charset="0"/>
                <a:cs typeface="Times New Roman" pitchFamily="18" charset="0"/>
              </a:rPr>
              <a:t>phủ</a:t>
            </a:r>
            <a:r>
              <a:rPr lang="en-AU" sz="2800" dirty="0"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943728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223230-AC74-BF49-9C0C-D12B8DCA38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43337"/>
            <a:ext cx="12192000" cy="537700"/>
          </a:xfrm>
        </p:spPr>
        <p:txBody>
          <a:bodyPr>
            <a:normAutofit fontScale="90000"/>
          </a:bodyPr>
          <a:lstStyle/>
          <a:p>
            <a:pPr algn="ctr"/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2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hiến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lượ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để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ứng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phó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vấn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đề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liên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ố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áo</a:t>
            </a:r>
            <a:endParaRPr lang="en-AU" sz="3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3BD5526F-D004-6446-95EC-3CD006522EB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0" y="810228"/>
          <a:ext cx="12192000" cy="61577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5922735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0A7BE-C4A4-B74A-8ABB-69DC5D59DD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7038"/>
            <a:ext cx="10515600" cy="583999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Vai</a:t>
            </a:r>
            <a:r>
              <a:rPr lang="en-AU" sz="3200" dirty="0"/>
              <a:t> </a:t>
            </a:r>
            <a:r>
              <a:rPr lang="en-AU" sz="3200" dirty="0" err="1"/>
              <a:t>trò</a:t>
            </a:r>
            <a:r>
              <a:rPr lang="en-AU" sz="3200" dirty="0"/>
              <a:t> </a:t>
            </a:r>
            <a:r>
              <a:rPr lang="en-AU" sz="3200" dirty="0" err="1"/>
              <a:t>quan</a:t>
            </a:r>
            <a:r>
              <a:rPr lang="en-AU" sz="3200" dirty="0"/>
              <a:t> </a:t>
            </a:r>
            <a:r>
              <a:rPr lang="en-AU" sz="3200" dirty="0" err="1"/>
              <a:t>trọng</a:t>
            </a:r>
            <a:r>
              <a:rPr lang="en-AU" sz="3200" dirty="0"/>
              <a:t> </a:t>
            </a:r>
            <a:r>
              <a:rPr lang="en-AU" sz="3200" dirty="0" err="1"/>
              <a:t>của</a:t>
            </a:r>
            <a:r>
              <a:rPr lang="en-AU" sz="3200" dirty="0"/>
              <a:t> </a:t>
            </a:r>
            <a:r>
              <a:rPr lang="en-AU" sz="3200" dirty="0" err="1"/>
              <a:t>Định</a:t>
            </a:r>
            <a:r>
              <a:rPr lang="en-AU" sz="3200" dirty="0"/>
              <a:t> </a:t>
            </a:r>
            <a:r>
              <a:rPr lang="en-AU" sz="3200" dirty="0" err="1"/>
              <a:t>chuẩn</a:t>
            </a:r>
            <a:r>
              <a:rPr lang="en-AU" sz="3200" dirty="0"/>
              <a:t> </a:t>
            </a:r>
            <a:r>
              <a:rPr lang="en-AU" sz="3200" dirty="0" err="1"/>
              <a:t>về</a:t>
            </a:r>
            <a:r>
              <a:rPr lang="en-AU" sz="3200" dirty="0"/>
              <a:t> BVT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188EAB7-4A48-594D-BFA2-C71BB7E10196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0" y="868100"/>
          <a:ext cx="12060820" cy="59898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2184356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91D3C4-C8B8-064A-A75C-19BB00871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87333"/>
            <a:ext cx="12191999" cy="676597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huẩn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BV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E52427-A496-AF46-92E7-51DB2F2C41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763930"/>
            <a:ext cx="12192000" cy="6094069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nghĩa</a:t>
            </a:r>
            <a:endParaRPr lang="en-GB" sz="32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chuẩn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nghĩa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hướng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dẫn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thực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hiện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qua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chỉ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báo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: </a:t>
            </a:r>
          </a:p>
          <a:p>
            <a:pPr marL="0" indent="0">
              <a:buNone/>
            </a:pP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	1. 	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Đặc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điểm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1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trường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XHTE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gì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?</a:t>
            </a:r>
          </a:p>
          <a:p>
            <a:pPr marL="0" indent="0">
              <a:buNone/>
            </a:pP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	2.	Bao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nhiêu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đặc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điểm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cần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biểu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hiện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1 TH?</a:t>
            </a:r>
          </a:p>
          <a:p>
            <a:pPr marL="0" indent="0">
              <a:buNone/>
            </a:pP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	3. 	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Mức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độ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rủi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ro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mà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gặp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phải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gì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[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chúng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ta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cần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phản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ứng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nhanh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ở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mức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độ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nào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?]</a:t>
            </a:r>
          </a:p>
          <a:p>
            <a:pPr marL="0" indent="0" algn="just">
              <a:buNone/>
            </a:pP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Cần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nhớ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rằng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chuẩn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tố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XHTE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chỉ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hướng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dẫn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mang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tính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hướng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chứ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phải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tuyệt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đối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. Do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đó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yêu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cầu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tố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”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giải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nghĩa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” –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liệu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tình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trạng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chăm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sóc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nói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lên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điều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gì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?</a:t>
            </a:r>
          </a:p>
          <a:p>
            <a:pPr marL="0" indent="0" algn="just">
              <a:buNone/>
            </a:pP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chuẩn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tích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chương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trình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đào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tạo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thực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hiện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tố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GB" sz="3200" dirty="0" err="1"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GB" sz="3200" dirty="0">
                <a:latin typeface="Times New Roman" pitchFamily="18" charset="0"/>
                <a:cs typeface="Times New Roman" pitchFamily="18" charset="0"/>
              </a:rPr>
              <a:t>.</a:t>
            </a:r>
            <a:endParaRPr lang="en-AU" sz="32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0260359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E54330-9963-D648-ADE2-75DABDBF9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91505"/>
            <a:ext cx="10515600" cy="537700"/>
          </a:xfrm>
        </p:spPr>
        <p:txBody>
          <a:bodyPr>
            <a:normAutofit/>
          </a:bodyPr>
          <a:lstStyle/>
          <a:p>
            <a:r>
              <a:rPr lang="en-AU" sz="3200" dirty="0"/>
              <a:t>2 </a:t>
            </a:r>
            <a:r>
              <a:rPr lang="en-AU" sz="3200" dirty="0" err="1"/>
              <a:t>khía</a:t>
            </a:r>
            <a:r>
              <a:rPr lang="en-AU" sz="3200" dirty="0"/>
              <a:t> </a:t>
            </a:r>
            <a:r>
              <a:rPr lang="en-AU" sz="3200" dirty="0" err="1"/>
              <a:t>cạnh</a:t>
            </a:r>
            <a:r>
              <a:rPr lang="en-AU" sz="3200" dirty="0"/>
              <a:t> </a:t>
            </a:r>
            <a:r>
              <a:rPr lang="en-AU" sz="3200" dirty="0" err="1"/>
              <a:t>của</a:t>
            </a:r>
            <a:r>
              <a:rPr lang="en-AU" sz="3200" dirty="0"/>
              <a:t> </a:t>
            </a:r>
            <a:r>
              <a:rPr lang="en-AU" sz="3200" dirty="0" err="1"/>
              <a:t>định</a:t>
            </a:r>
            <a:r>
              <a:rPr lang="en-AU" sz="3200" dirty="0"/>
              <a:t> </a:t>
            </a:r>
            <a:r>
              <a:rPr lang="en-AU" sz="3200" dirty="0" err="1"/>
              <a:t>chuẩn</a:t>
            </a:r>
            <a:endParaRPr lang="en-AU" sz="3200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0DC19D5-EB60-2245-B012-578BBCDC54C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0" y="1018572"/>
          <a:ext cx="12192000" cy="58394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Right Arrow 2">
            <a:extLst>
              <a:ext uri="{FF2B5EF4-FFF2-40B4-BE49-F238E27FC236}">
                <a16:creationId xmlns:a16="http://schemas.microsoft.com/office/drawing/2014/main" id="{46E37CD6-042C-0A44-BE10-78AE26B97154}"/>
              </a:ext>
            </a:extLst>
          </p:cNvPr>
          <p:cNvSpPr/>
          <p:nvPr/>
        </p:nvSpPr>
        <p:spPr>
          <a:xfrm>
            <a:off x="5775767" y="1770927"/>
            <a:ext cx="821803" cy="484632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4369006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4CAFFF0-5EE5-6141-B2ED-94E2228041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5747"/>
            <a:ext cx="10515600" cy="902825"/>
          </a:xfrm>
        </p:spPr>
        <p:txBody>
          <a:bodyPr>
            <a:normAutofit/>
          </a:bodyPr>
          <a:lstStyle/>
          <a:p>
            <a:pPr algn="ctr"/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TỐ CÁO VIỆC XH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AB349F-702B-A247-9A2F-C2EC0C6805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925975"/>
            <a:ext cx="10515600" cy="5250988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 fontScale="92500" lnSpcReduction="10000"/>
          </a:bodyPr>
          <a:lstStyle/>
          <a:p>
            <a:pPr marL="0" indent="0" algn="ctr">
              <a:buNone/>
            </a:pPr>
            <a:endParaRPr lang="en-AU" sz="5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báo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cho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phù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thường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CB BVTE)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“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nghi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ngại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”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bị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làm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nguy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cơ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bị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bởi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5400" dirty="0" err="1">
                <a:latin typeface="Times New Roman" pitchFamily="18" charset="0"/>
                <a:cs typeface="Times New Roman" pitchFamily="18" charset="0"/>
              </a:rPr>
              <a:t>hành</a:t>
            </a:r>
            <a:r>
              <a:rPr lang="en-AU" sz="5400" dirty="0">
                <a:latin typeface="Times New Roman" pitchFamily="18" charset="0"/>
                <a:cs typeface="Times New Roman" pitchFamily="18" charset="0"/>
              </a:rPr>
              <a:t> vi XHTE.</a:t>
            </a:r>
          </a:p>
        </p:txBody>
      </p:sp>
    </p:spTree>
    <p:extLst>
      <p:ext uri="{BB962C8B-B14F-4D97-AF65-F5344CB8AC3E}">
        <p14:creationId xmlns:p14="http://schemas.microsoft.com/office/powerpoint/2010/main" val="214036808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7FE290-6985-FD4B-BE65-86B000AD1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18256"/>
            <a:ext cx="11714205" cy="809648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Lưu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ý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vấn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đề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liên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rẻ</a:t>
            </a:r>
            <a:endParaRPr lang="en-AU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A42567F-F62A-DD42-BEF9-40415CA5AC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827904"/>
            <a:ext cx="12192000" cy="6030096"/>
          </a:xfr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endParaRPr lang="en-AU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DEF3CD6-6C5A-6F44-BFFB-1562B02329F3}"/>
              </a:ext>
            </a:extLst>
          </p:cNvPr>
          <p:cNvSpPr/>
          <p:nvPr/>
        </p:nvSpPr>
        <p:spPr>
          <a:xfrm>
            <a:off x="3972696" y="827904"/>
            <a:ext cx="5082743" cy="80964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ấn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ề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mà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gia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ình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ang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gặp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phải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86AEB1B-6F98-784D-9AEE-9213783E1E73}"/>
              </a:ext>
            </a:extLst>
          </p:cNvPr>
          <p:cNvSpPr/>
          <p:nvPr/>
        </p:nvSpPr>
        <p:spPr>
          <a:xfrm>
            <a:off x="203885" y="1672283"/>
            <a:ext cx="3768811" cy="9144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ấn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ề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ồn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ại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ởi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ì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hu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ầu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hăm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óc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hể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áp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ứng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một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ách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phù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ợp</a:t>
            </a:r>
            <a:endParaRPr lang="en-A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7097E9B-B1AB-AB4A-8A49-D39335376109}"/>
              </a:ext>
            </a:extLst>
          </p:cNvPr>
          <p:cNvSpPr/>
          <p:nvPr/>
        </p:nvSpPr>
        <p:spPr>
          <a:xfrm>
            <a:off x="7945393" y="1830532"/>
            <a:ext cx="3768811" cy="9144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ấn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ề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ảy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inh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ởi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ấn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ề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hác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ang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ồn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ại</a:t>
            </a:r>
            <a:endParaRPr lang="en-AU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42A9A97-CC4E-2646-9069-0DC878469BB1}"/>
              </a:ext>
            </a:extLst>
          </p:cNvPr>
          <p:cNvCxnSpPr>
            <a:cxnSpLocks/>
          </p:cNvCxnSpPr>
          <p:nvPr/>
        </p:nvCxnSpPr>
        <p:spPr>
          <a:xfrm>
            <a:off x="8933935" y="1180352"/>
            <a:ext cx="106267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1A5DDD42-4E8B-4841-85EB-95D32A7865CC}"/>
              </a:ext>
            </a:extLst>
          </p:cNvPr>
          <p:cNvCxnSpPr>
            <a:cxnSpLocks/>
          </p:cNvCxnSpPr>
          <p:nvPr/>
        </p:nvCxnSpPr>
        <p:spPr>
          <a:xfrm>
            <a:off x="10021330" y="1180352"/>
            <a:ext cx="0" cy="6501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8C4592B4-80D4-E040-BF83-1A3827858B5F}"/>
              </a:ext>
            </a:extLst>
          </p:cNvPr>
          <p:cNvSpPr/>
          <p:nvPr/>
        </p:nvSpPr>
        <p:spPr>
          <a:xfrm>
            <a:off x="8933935" y="3097380"/>
            <a:ext cx="3150973" cy="134688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ơ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BVTE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ào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ợ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giúp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ường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DV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ợ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giúp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ần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ung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ấp</a:t>
            </a:r>
            <a:r>
              <a:rPr lang="en-AU" sz="2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64BEF98E-D1B5-464A-825E-C7344B9011E6}"/>
              </a:ext>
            </a:extLst>
          </p:cNvPr>
          <p:cNvCxnSpPr>
            <a:cxnSpLocks/>
          </p:cNvCxnSpPr>
          <p:nvPr/>
        </p:nvCxnSpPr>
        <p:spPr>
          <a:xfrm>
            <a:off x="10144897" y="2744932"/>
            <a:ext cx="0" cy="3524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A61D1C7C-EF49-FD42-88DD-9B2C94D37AF8}"/>
              </a:ext>
            </a:extLst>
          </p:cNvPr>
          <p:cNvSpPr/>
          <p:nvPr/>
        </p:nvSpPr>
        <p:spPr>
          <a:xfrm>
            <a:off x="753760" y="2829702"/>
            <a:ext cx="2669059" cy="9144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Quan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gại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gì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hể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xảy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ra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ối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endParaRPr lang="en-A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0490D21-2884-E143-ABB5-320842073167}"/>
              </a:ext>
            </a:extLst>
          </p:cNvPr>
          <p:cNvSpPr/>
          <p:nvPr/>
        </p:nvSpPr>
        <p:spPr>
          <a:xfrm>
            <a:off x="148278" y="4090044"/>
            <a:ext cx="2211859" cy="134688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áp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ứng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ĐỊNH CHUẨN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liên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ường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XHT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3F6E0A5-52BD-FE47-AE0E-953F185F6EB5}"/>
              </a:ext>
            </a:extLst>
          </p:cNvPr>
          <p:cNvSpPr/>
          <p:nvPr/>
        </p:nvSpPr>
        <p:spPr>
          <a:xfrm>
            <a:off x="3422819" y="4046559"/>
            <a:ext cx="2792628" cy="134688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ạt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iêu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hí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huẩn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ể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xác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ường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XHT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86D3D6E-675F-AF46-BD0E-FC576A10ED14}"/>
              </a:ext>
            </a:extLst>
          </p:cNvPr>
          <p:cNvSpPr/>
          <p:nvPr/>
        </p:nvSpPr>
        <p:spPr>
          <a:xfrm>
            <a:off x="7171714" y="4310171"/>
            <a:ext cx="1556951" cy="123201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ẫn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òn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ghi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gại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ấn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ề</a:t>
            </a:r>
            <a:endParaRPr lang="en-AU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1F2E119-B45D-CE45-BF5D-03D7B9850A24}"/>
              </a:ext>
            </a:extLst>
          </p:cNvPr>
          <p:cNvCxnSpPr>
            <a:cxnSpLocks/>
          </p:cNvCxnSpPr>
          <p:nvPr/>
        </p:nvCxnSpPr>
        <p:spPr>
          <a:xfrm flipV="1">
            <a:off x="10243751" y="4444264"/>
            <a:ext cx="0" cy="4819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00B5142-86BF-CD49-A07E-995EA66BA59D}"/>
              </a:ext>
            </a:extLst>
          </p:cNvPr>
          <p:cNvCxnSpPr>
            <a:cxnSpLocks/>
          </p:cNvCxnSpPr>
          <p:nvPr/>
        </p:nvCxnSpPr>
        <p:spPr>
          <a:xfrm>
            <a:off x="8728665" y="4926181"/>
            <a:ext cx="15150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0B0F251-6F52-FB42-859E-68F3E8200F36}"/>
              </a:ext>
            </a:extLst>
          </p:cNvPr>
          <p:cNvCxnSpPr>
            <a:cxnSpLocks/>
          </p:cNvCxnSpPr>
          <p:nvPr/>
        </p:nvCxnSpPr>
        <p:spPr>
          <a:xfrm>
            <a:off x="6215447" y="4881915"/>
            <a:ext cx="10626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0A09D155-D453-1342-8435-0705EC39F765}"/>
              </a:ext>
            </a:extLst>
          </p:cNvPr>
          <p:cNvSpPr/>
          <p:nvPr/>
        </p:nvSpPr>
        <p:spPr>
          <a:xfrm>
            <a:off x="485272" y="5631171"/>
            <a:ext cx="6563697" cy="1143842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TỐ CÁO </a:t>
            </a:r>
            <a:r>
              <a:rPr lang="en-AU" sz="24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A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gửi</a:t>
            </a:r>
            <a:r>
              <a:rPr lang="en-A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DV BVTE </a:t>
            </a:r>
            <a:r>
              <a:rPr lang="en-AU" sz="24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chính</a:t>
            </a:r>
            <a:r>
              <a:rPr lang="en-A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thống</a:t>
            </a:r>
            <a:r>
              <a:rPr lang="en-A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CP – </a:t>
            </a:r>
            <a:r>
              <a:rPr lang="en-AU" sz="24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làm</a:t>
            </a:r>
            <a:r>
              <a:rPr lang="en-A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CT BVTE </a:t>
            </a:r>
            <a:r>
              <a:rPr lang="en-AU" sz="24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cấp</a:t>
            </a:r>
            <a:r>
              <a:rPr lang="en-A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xã</a:t>
            </a:r>
            <a:r>
              <a:rPr lang="en-A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B76F3DB-E08F-174E-A38C-2F2821C6A816}"/>
              </a:ext>
            </a:extLst>
          </p:cNvPr>
          <p:cNvCxnSpPr>
            <a:cxnSpLocks/>
            <a:endCxn id="6" idx="1"/>
          </p:cNvCxnSpPr>
          <p:nvPr/>
        </p:nvCxnSpPr>
        <p:spPr>
          <a:xfrm>
            <a:off x="3006811" y="1232728"/>
            <a:ext cx="96588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107289F7-F0CF-624E-A682-BA82F3CCAA0A}"/>
              </a:ext>
            </a:extLst>
          </p:cNvPr>
          <p:cNvCxnSpPr>
            <a:cxnSpLocks/>
          </p:cNvCxnSpPr>
          <p:nvPr/>
        </p:nvCxnSpPr>
        <p:spPr>
          <a:xfrm>
            <a:off x="3006811" y="1232728"/>
            <a:ext cx="0" cy="4395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B1FBBA9-5EF3-A445-BA5C-96E7449DD5FD}"/>
              </a:ext>
            </a:extLst>
          </p:cNvPr>
          <p:cNvCxnSpPr>
            <a:cxnSpLocks/>
          </p:cNvCxnSpPr>
          <p:nvPr/>
        </p:nvCxnSpPr>
        <p:spPr>
          <a:xfrm>
            <a:off x="2360140" y="4613188"/>
            <a:ext cx="106267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8B8325D-5B29-5443-8BDE-3C341B11572B}"/>
              </a:ext>
            </a:extLst>
          </p:cNvPr>
          <p:cNvCxnSpPr>
            <a:cxnSpLocks/>
          </p:cNvCxnSpPr>
          <p:nvPr/>
        </p:nvCxnSpPr>
        <p:spPr>
          <a:xfrm>
            <a:off x="2539313" y="2591973"/>
            <a:ext cx="0" cy="2377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FB03582-A680-7E40-8742-B9152C8C275D}"/>
              </a:ext>
            </a:extLst>
          </p:cNvPr>
          <p:cNvCxnSpPr>
            <a:cxnSpLocks/>
          </p:cNvCxnSpPr>
          <p:nvPr/>
        </p:nvCxnSpPr>
        <p:spPr>
          <a:xfrm>
            <a:off x="1616676" y="3744102"/>
            <a:ext cx="0" cy="3459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5353387D-48AA-8D4D-A281-EC88E5B2D8C3}"/>
              </a:ext>
            </a:extLst>
          </p:cNvPr>
          <p:cNvCxnSpPr>
            <a:cxnSpLocks/>
          </p:cNvCxnSpPr>
          <p:nvPr/>
        </p:nvCxnSpPr>
        <p:spPr>
          <a:xfrm>
            <a:off x="2844113" y="2896773"/>
            <a:ext cx="0" cy="2377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7B27A6C-DEF0-FE40-AF77-4339591C1C2C}"/>
              </a:ext>
            </a:extLst>
          </p:cNvPr>
          <p:cNvCxnSpPr>
            <a:cxnSpLocks/>
          </p:cNvCxnSpPr>
          <p:nvPr/>
        </p:nvCxnSpPr>
        <p:spPr>
          <a:xfrm>
            <a:off x="1756719" y="5496697"/>
            <a:ext cx="0" cy="1729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79BB310-E366-9F4A-B0CA-0E8E3D0DA3B4}"/>
              </a:ext>
            </a:extLst>
          </p:cNvPr>
          <p:cNvCxnSpPr>
            <a:cxnSpLocks/>
          </p:cNvCxnSpPr>
          <p:nvPr/>
        </p:nvCxnSpPr>
        <p:spPr>
          <a:xfrm>
            <a:off x="1921476" y="4048902"/>
            <a:ext cx="0" cy="3459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2872847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76C6FC-0D95-B542-8ACC-3F13BA9A55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65125"/>
            <a:ext cx="12192000" cy="618723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Mố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liên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hệ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giữa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nhu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ầu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hăm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só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TE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XHTE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977E57B6-B6D6-7740-AFA7-2E9E10E3B85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0" y="1169044"/>
          <a:ext cx="12192000" cy="56889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1008293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820F8-26E4-BD48-811C-DE27792AC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172" y="365126"/>
            <a:ext cx="12087828" cy="769194"/>
          </a:xfrm>
        </p:spPr>
        <p:txBody>
          <a:bodyPr>
            <a:normAutofit fontScale="90000"/>
          </a:bodyPr>
          <a:lstStyle/>
          <a:p>
            <a:pPr algn="ctr"/>
            <a:r>
              <a:rPr lang="en-AU" sz="3200" dirty="0" err="1"/>
              <a:t>Chúng</a:t>
            </a:r>
            <a:r>
              <a:rPr lang="en-AU" sz="3200" dirty="0"/>
              <a:t> ta </a:t>
            </a:r>
            <a:r>
              <a:rPr lang="en-AU" sz="3200" dirty="0" err="1"/>
              <a:t>tìm</a:t>
            </a:r>
            <a:r>
              <a:rPr lang="en-AU" sz="3200" dirty="0"/>
              <a:t> </a:t>
            </a:r>
            <a:r>
              <a:rPr lang="en-AU" sz="3200" dirty="0" err="1"/>
              <a:t>kiếm</a:t>
            </a:r>
            <a:r>
              <a:rPr lang="en-AU" sz="3200" dirty="0"/>
              <a:t> </a:t>
            </a:r>
            <a:r>
              <a:rPr lang="en-AU" sz="3200" dirty="0" err="1"/>
              <a:t>thông</a:t>
            </a:r>
            <a:r>
              <a:rPr lang="en-AU" sz="3200" dirty="0"/>
              <a:t> tin </a:t>
            </a:r>
            <a:r>
              <a:rPr lang="en-AU" sz="3200" dirty="0" err="1"/>
              <a:t>gì</a:t>
            </a:r>
            <a:r>
              <a:rPr lang="en-AU" sz="3200" dirty="0"/>
              <a:t> </a:t>
            </a:r>
            <a:r>
              <a:rPr lang="en-AU" sz="3200" dirty="0" err="1"/>
              <a:t>để</a:t>
            </a:r>
            <a:r>
              <a:rPr lang="en-AU" sz="3200" dirty="0"/>
              <a:t> </a:t>
            </a:r>
            <a:r>
              <a:rPr lang="en-AU" sz="3200" dirty="0" err="1"/>
              <a:t>có</a:t>
            </a:r>
            <a:r>
              <a:rPr lang="en-AU" sz="3200" dirty="0"/>
              <a:t> </a:t>
            </a:r>
            <a:r>
              <a:rPr lang="en-AU" sz="3200" dirty="0" err="1"/>
              <a:t>thể</a:t>
            </a:r>
            <a:r>
              <a:rPr lang="en-AU" sz="3200" dirty="0"/>
              <a:t> </a:t>
            </a:r>
            <a:r>
              <a:rPr lang="en-AU" sz="3200" dirty="0" err="1"/>
              <a:t>nói</a:t>
            </a:r>
            <a:r>
              <a:rPr lang="en-AU" sz="3200" dirty="0"/>
              <a:t> </a:t>
            </a:r>
            <a:r>
              <a:rPr lang="en-AU" sz="3200" dirty="0" err="1"/>
              <a:t>cho</a:t>
            </a:r>
            <a:r>
              <a:rPr lang="en-AU" sz="3200" dirty="0"/>
              <a:t> CBBVTE </a:t>
            </a:r>
            <a:r>
              <a:rPr lang="en-AU" sz="3200" dirty="0" err="1"/>
              <a:t>về</a:t>
            </a:r>
            <a:r>
              <a:rPr lang="en-AU" sz="3200" dirty="0"/>
              <a:t> </a:t>
            </a:r>
            <a:r>
              <a:rPr lang="en-AU" sz="3200" dirty="0" err="1"/>
              <a:t>việc</a:t>
            </a:r>
            <a:r>
              <a:rPr lang="en-AU" sz="3200" dirty="0"/>
              <a:t> </a:t>
            </a:r>
            <a:r>
              <a:rPr lang="en-AU" sz="3200" dirty="0" err="1"/>
              <a:t>nghi</a:t>
            </a:r>
            <a:r>
              <a:rPr lang="en-AU" sz="3200" dirty="0"/>
              <a:t> </a:t>
            </a:r>
            <a:r>
              <a:rPr lang="en-AU" sz="3200" dirty="0" err="1"/>
              <a:t>ngại</a:t>
            </a:r>
            <a:r>
              <a:rPr lang="en-AU" sz="3200" dirty="0"/>
              <a:t> </a:t>
            </a:r>
            <a:r>
              <a:rPr lang="en-AU" sz="3200" dirty="0" err="1"/>
              <a:t>hoặc</a:t>
            </a:r>
            <a:r>
              <a:rPr lang="en-AU" sz="3200" dirty="0"/>
              <a:t> </a:t>
            </a:r>
            <a:r>
              <a:rPr lang="en-AU" sz="3200" dirty="0" err="1"/>
              <a:t>cáo</a:t>
            </a:r>
            <a:r>
              <a:rPr lang="en-AU" sz="3200" dirty="0"/>
              <a:t> </a:t>
            </a:r>
            <a:r>
              <a:rPr lang="en-AU" sz="3200" dirty="0" err="1"/>
              <a:t>buộc</a:t>
            </a:r>
            <a:endParaRPr lang="en-AU" sz="3200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3343D08-A8D9-E340-8086-5B0D0F43ABD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-1" y="1319514"/>
          <a:ext cx="12087827" cy="54401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254630470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 rot="5400000">
            <a:off x="1624475" y="345672"/>
            <a:ext cx="1159785" cy="2259943"/>
          </a:xfrm>
          <a:prstGeom prst="homePlate">
            <a:avLst>
              <a:gd name="adj" fmla="val 20672"/>
            </a:avLst>
          </a:prstGeom>
          <a:solidFill>
            <a:srgbClr val="FFFF00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vert="vert270"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ú</a:t>
            </a:r>
            <a:r>
              <a:rPr lang="en-A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ý</a:t>
            </a:r>
            <a:endParaRPr lang="en-AU" sz="2400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5400000">
            <a:off x="1702433" y="1529966"/>
            <a:ext cx="1076739" cy="2259943"/>
          </a:xfrm>
          <a:prstGeom prst="homePlate">
            <a:avLst>
              <a:gd name="adj" fmla="val 20672"/>
            </a:avLst>
          </a:prstGeom>
          <a:solidFill>
            <a:srgbClr val="FF6600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vert="vert270"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AU" sz="24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Thu </a:t>
            </a:r>
            <a:r>
              <a:rPr lang="en-AU" sz="2400" b="1" dirty="0" err="1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thập</a:t>
            </a:r>
            <a:r>
              <a:rPr lang="en-AU" sz="24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4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tin</a:t>
            </a:r>
          </a:p>
        </p:txBody>
      </p:sp>
      <p:sp>
        <p:nvSpPr>
          <p:cNvPr id="4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1665996" y="2700985"/>
            <a:ext cx="1076741" cy="2259943"/>
          </a:xfrm>
          <a:prstGeom prst="homePlate">
            <a:avLst>
              <a:gd name="adj" fmla="val 20672"/>
            </a:avLst>
          </a:prstGeom>
          <a:solidFill>
            <a:srgbClr val="FF0000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vert="vert270"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AU" sz="2400" b="1" dirty="0" err="1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Đánh</a:t>
            </a:r>
            <a:r>
              <a:rPr lang="en-AU" sz="24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giá</a:t>
            </a:r>
            <a:r>
              <a:rPr lang="en-AU" sz="24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4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tin</a:t>
            </a:r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1785348" y="3698348"/>
            <a:ext cx="910906" cy="2512979"/>
          </a:xfrm>
          <a:prstGeom prst="homePlate">
            <a:avLst>
              <a:gd name="adj" fmla="val 20672"/>
            </a:avLst>
          </a:prstGeom>
          <a:solidFill>
            <a:srgbClr val="6D9F00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vert="vert270"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AU" sz="2400" b="1" dirty="0" err="1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Quyết</a:t>
            </a:r>
            <a:r>
              <a:rPr lang="en-AU" sz="24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sz="24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tố</a:t>
            </a:r>
            <a:r>
              <a:rPr lang="en-AU" sz="24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cáo</a:t>
            </a:r>
            <a:endParaRPr lang="en-AU" sz="2400" b="1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5400000">
            <a:off x="1675169" y="4907357"/>
            <a:ext cx="1120907" cy="2429315"/>
          </a:xfrm>
          <a:prstGeom prst="homePlate">
            <a:avLst>
              <a:gd name="adj" fmla="val 20672"/>
            </a:avLst>
          </a:prstGeom>
          <a:solidFill>
            <a:schemeClr val="accent1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vert="vert270"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AU" sz="2400" b="1" dirty="0" err="1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4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AU" sz="2400" b="1" dirty="0" err="1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24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đúng</a:t>
            </a:r>
            <a:r>
              <a:rPr lang="en-AU" sz="24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endParaRPr lang="en-AU" sz="2400" b="1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662266" y="923449"/>
            <a:ext cx="8038848" cy="828000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ghi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gại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suy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ghĩ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rở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hành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hú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ý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hủ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đối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em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khác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liên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khác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ằm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âm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điểm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sát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  <p:sp>
        <p:nvSpPr>
          <p:cNvPr id="9" name="Rectangle 8"/>
          <p:cNvSpPr/>
          <p:nvPr/>
        </p:nvSpPr>
        <p:spPr>
          <a:xfrm>
            <a:off x="3732605" y="1923311"/>
            <a:ext cx="8316640" cy="1224136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ập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ru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vào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hu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hập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liên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ghi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gại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mình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điều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gày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ghĩa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sử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dụ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ất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ả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giác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hỉ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ói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huyện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đặc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biệt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liên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)</a:t>
            </a:r>
          </a:p>
        </p:txBody>
      </p:sp>
      <p:sp>
        <p:nvSpPr>
          <p:cNvPr id="10" name="Rectangle 9"/>
          <p:cNvSpPr/>
          <p:nvPr/>
        </p:nvSpPr>
        <p:spPr>
          <a:xfrm>
            <a:off x="3729050" y="3299551"/>
            <a:ext cx="8320195" cy="1005320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Suy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xét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ẩn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rọ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ý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ghĩa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tin (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ó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ý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ghĩa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gì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) –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hể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hiện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sự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lo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lắ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gại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hay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buộc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ào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liên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bị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guy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ơ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bị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?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823358" y="4636025"/>
            <a:ext cx="8225888" cy="828000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Quyết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báo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phù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lý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do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đưa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ra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quyết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ày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823359" y="5686802"/>
            <a:ext cx="7774474" cy="828000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Sử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dụ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hu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hập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xây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dự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ý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ưở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để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huyết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phục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phù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vào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000" dirty="0">
                <a:solidFill>
                  <a:srgbClr val="C00040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  <p:sp>
        <p:nvSpPr>
          <p:cNvPr id="14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06449" y="868962"/>
            <a:ext cx="531751" cy="82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vert="horz"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AU" sz="2800" b="1" dirty="0">
                <a:solidFill>
                  <a:srgbClr val="B83D68"/>
                </a:solidFill>
                <a:latin typeface="Times New Roman" pitchFamily="18" charset="0"/>
                <a:cs typeface="Times New Roman" pitchFamily="18" charset="0"/>
              </a:rPr>
              <a:t>1</a:t>
            </a:r>
          </a:p>
        </p:txBody>
      </p:sp>
      <p:sp>
        <p:nvSpPr>
          <p:cNvPr id="15" name="Rectangle 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26493" y="4369327"/>
            <a:ext cx="531751" cy="82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vert="horz"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AU" sz="2800" b="1" dirty="0">
                <a:solidFill>
                  <a:srgbClr val="B83D68"/>
                </a:solidFill>
              </a:rPr>
              <a:t>4</a:t>
            </a:r>
          </a:p>
        </p:txBody>
      </p:sp>
      <p:sp>
        <p:nvSpPr>
          <p:cNvPr id="16" name="Rectangle 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32673" y="2089349"/>
            <a:ext cx="531751" cy="82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vert="horz"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AU" sz="2800" b="1" dirty="0">
                <a:solidFill>
                  <a:srgbClr val="B83D68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17" name="Rectangle 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26492" y="5524010"/>
            <a:ext cx="531751" cy="82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vert="horz"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AU" sz="2800" b="1" dirty="0">
                <a:solidFill>
                  <a:srgbClr val="B83D68"/>
                </a:solidFill>
              </a:rPr>
              <a:t>5</a:t>
            </a:r>
          </a:p>
        </p:txBody>
      </p:sp>
      <p:sp>
        <p:nvSpPr>
          <p:cNvPr id="18" name="Rectangle 4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47932" y="3213915"/>
            <a:ext cx="531751" cy="828000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vert="horz"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en-AU" sz="2800" b="1" dirty="0">
                <a:solidFill>
                  <a:srgbClr val="B83D68"/>
                </a:solidFill>
              </a:rPr>
              <a:t>3</a:t>
            </a:r>
          </a:p>
        </p:txBody>
      </p:sp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81023" y="196745"/>
            <a:ext cx="12110977" cy="438087"/>
          </a:xfrm>
        </p:spPr>
        <p:txBody>
          <a:bodyPr>
            <a:normAutofit fontScale="90000"/>
          </a:bodyPr>
          <a:lstStyle/>
          <a:p>
            <a:pPr algn="ctr"/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hự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hiện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ố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– 5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bước</a:t>
            </a:r>
            <a:endParaRPr lang="en-AU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3A427D9-94DF-FF41-9FD7-E6E6232E3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AU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69879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ECC301-FA16-FD4B-828C-1113AC2875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6525"/>
            <a:ext cx="10515600" cy="592138"/>
          </a:xfrm>
          <a:solidFill>
            <a:schemeClr val="bg1"/>
          </a:solidFill>
        </p:spPr>
        <p:txBody>
          <a:bodyPr>
            <a:normAutofit/>
          </a:bodyPr>
          <a:lstStyle/>
          <a:p>
            <a:pPr algn="ctr"/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Mụ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đích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&amp;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Mụ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iêu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dịch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vụ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BVTE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A87C1487-A5E4-544C-9087-8319720F87C9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743875571"/>
              </p:ext>
            </p:extLst>
          </p:nvPr>
        </p:nvGraphicFramePr>
        <p:xfrm>
          <a:off x="0" y="1085630"/>
          <a:ext cx="12192000" cy="5786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DF44A2-5E7F-5941-A2EC-CC9637B5F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4CE4B7-8D97-B943-885E-25D1F9D29B41}" type="slidenum">
              <a:rPr lang="en-AU" smtClean="0"/>
              <a:pPr/>
              <a:t>7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314662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A321AA-7663-AF40-97C9-A63463129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7177" y="98907"/>
            <a:ext cx="10515600" cy="711321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iến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rình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ố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áo</a:t>
            </a:r>
            <a:endParaRPr lang="en-AU" sz="3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9B583127-98B3-314E-A959-29C8013E07CC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0" y="810228"/>
          <a:ext cx="12192000" cy="60477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5100677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C0943E-8259-344C-87AA-2E43168A9E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1353800" cy="583999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Bướ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1: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hú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ý</a:t>
            </a:r>
            <a:endParaRPr lang="en-AU" sz="3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5A6F7C20-0A6E-3546-85EE-CFDB67BE2D68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0" y="694481"/>
          <a:ext cx="12192000" cy="61635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5118923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75288E-F25A-8149-87FD-99A5DAEB33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630298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Bướ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2: Thu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hập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tin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CF72B0FF-B913-534A-AF7B-E8C1627B1BC9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-1" y="706056"/>
          <a:ext cx="12191999" cy="61519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40603163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974" y="0"/>
            <a:ext cx="11622904" cy="720192"/>
          </a:xfrm>
        </p:spPr>
        <p:txBody>
          <a:bodyPr>
            <a:noAutofit/>
          </a:bodyPr>
          <a:lstStyle/>
          <a:p>
            <a:pPr algn="ctr"/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Bướ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3: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Đánh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giá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tin</a:t>
            </a:r>
          </a:p>
        </p:txBody>
      </p:sp>
      <p:sp>
        <p:nvSpPr>
          <p:cNvPr id="10" name="Text Box 10"/>
          <p:cNvSpPr txBox="1">
            <a:spLocks noChangeArrowheads="1"/>
          </p:cNvSpPr>
          <p:nvPr/>
        </p:nvSpPr>
        <p:spPr bwMode="auto">
          <a:xfrm>
            <a:off x="1862635" y="784347"/>
            <a:ext cx="7130005" cy="720192"/>
          </a:xfrm>
          <a:prstGeom prst="rect">
            <a:avLst/>
          </a:prstGeom>
          <a:solidFill>
            <a:schemeClr val="accent1"/>
          </a:solidFill>
          <a:ln w="12700" algn="ctr">
            <a:solidFill>
              <a:srgbClr val="B61D8A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en-AU" sz="4000" b="1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ĐÂY LÀ PHẦN KHÓ NHẤT</a:t>
            </a:r>
          </a:p>
        </p:txBody>
      </p:sp>
      <p:cxnSp>
        <p:nvCxnSpPr>
          <p:cNvPr id="11" name="AutoShape 17"/>
          <p:cNvCxnSpPr>
            <a:cxnSpLocks noChangeShapeType="1"/>
          </p:cNvCxnSpPr>
          <p:nvPr>
            <p:custDataLst>
              <p:tags r:id="rId1"/>
            </p:custDataLst>
          </p:nvPr>
        </p:nvCxnSpPr>
        <p:spPr bwMode="auto">
          <a:xfrm rot="16200000" flipH="1">
            <a:off x="2567856" y="3455522"/>
            <a:ext cx="551349" cy="28629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B61D8A"/>
            </a:solidFill>
            <a:miter lim="800000"/>
            <a:headEnd type="none" w="sm" len="sm"/>
            <a:tailEnd type="none" w="med" len="lg"/>
          </a:ln>
        </p:spPr>
      </p:cxn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5639451" y="4393707"/>
            <a:ext cx="3023174" cy="151216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 algn="ctr">
            <a:solidFill>
              <a:srgbClr val="B61D8A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72000" defTabSz="957998">
              <a:lnSpc>
                <a:spcPct val="106000"/>
              </a:lnSpc>
              <a:spcBef>
                <a:spcPts val="1344"/>
              </a:spcBef>
            </a:pPr>
            <a:r>
              <a:rPr lang="en-AU" dirty="0">
                <a:solidFill>
                  <a:prstClr val="black"/>
                </a:solidFill>
                <a:latin typeface="Arial"/>
              </a:rPr>
              <a:t>1</a:t>
            </a:r>
            <a:r>
              <a:rPr lang="en-A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en-AU" sz="24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Cần</a:t>
            </a:r>
            <a:r>
              <a:rPr lang="en-A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kiến</a:t>
            </a:r>
            <a:r>
              <a:rPr lang="en-A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thức</a:t>
            </a:r>
            <a:r>
              <a:rPr lang="en-A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liên</a:t>
            </a:r>
            <a:r>
              <a:rPr lang="en-A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A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Chỉ</a:t>
            </a:r>
            <a:r>
              <a:rPr lang="en-A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báo</a:t>
            </a:r>
            <a:r>
              <a:rPr lang="en-A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A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6 </a:t>
            </a:r>
            <a:r>
              <a:rPr lang="en-AU" sz="24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nhu</a:t>
            </a:r>
            <a:r>
              <a:rPr lang="en-A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cầu</a:t>
            </a:r>
            <a:r>
              <a:rPr lang="en-A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chăm</a:t>
            </a:r>
            <a:r>
              <a:rPr lang="en-A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sóc</a:t>
            </a:r>
            <a:r>
              <a:rPr lang="en-A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em</a:t>
            </a:r>
            <a:endParaRPr lang="en-AU" sz="24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8956725" y="4278040"/>
            <a:ext cx="3192250" cy="111759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 algn="ctr">
            <a:solidFill>
              <a:srgbClr val="B61D8A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72000" defTabSz="957998">
              <a:lnSpc>
                <a:spcPct val="106000"/>
              </a:lnSpc>
              <a:spcBef>
                <a:spcPts val="1344"/>
              </a:spcBef>
            </a:pPr>
            <a:r>
              <a:rPr lang="en-AU" sz="2000" dirty="0">
                <a:solidFill>
                  <a:prstClr val="black"/>
                </a:solidFill>
                <a:latin typeface="Arial"/>
              </a:rPr>
              <a:t>2. </a:t>
            </a:r>
            <a:r>
              <a:rPr lang="en-AU" sz="2000" dirty="0" err="1">
                <a:solidFill>
                  <a:prstClr val="black"/>
                </a:solidFill>
                <a:latin typeface="Arial"/>
              </a:rPr>
              <a:t>Cần</a:t>
            </a:r>
            <a:r>
              <a:rPr lang="en-AU" sz="20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Arial"/>
              </a:rPr>
              <a:t>những</a:t>
            </a:r>
            <a:r>
              <a:rPr lang="en-AU" sz="20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Arial"/>
              </a:rPr>
              <a:t>kiến</a:t>
            </a:r>
            <a:r>
              <a:rPr lang="en-AU" sz="20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Arial"/>
              </a:rPr>
              <a:t>thức</a:t>
            </a:r>
            <a:r>
              <a:rPr lang="en-AU" sz="20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Arial"/>
              </a:rPr>
              <a:t>cơ</a:t>
            </a:r>
            <a:r>
              <a:rPr lang="en-AU" sz="20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Arial"/>
              </a:rPr>
              <a:t>bản</a:t>
            </a:r>
            <a:r>
              <a:rPr lang="en-AU" sz="20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Arial"/>
              </a:rPr>
              <a:t>liên</a:t>
            </a:r>
            <a:r>
              <a:rPr lang="en-AU" sz="20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Arial"/>
              </a:rPr>
              <a:t>quan</a:t>
            </a:r>
            <a:r>
              <a:rPr lang="en-AU" sz="20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Arial"/>
              </a:rPr>
              <a:t>tới</a:t>
            </a:r>
            <a:r>
              <a:rPr lang="en-AU" sz="20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Arial"/>
              </a:rPr>
              <a:t>các</a:t>
            </a:r>
            <a:r>
              <a:rPr lang="en-AU" sz="20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Arial"/>
              </a:rPr>
              <a:t>chỉ</a:t>
            </a:r>
            <a:r>
              <a:rPr lang="en-AU" sz="20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Arial"/>
              </a:rPr>
              <a:t>báo</a:t>
            </a:r>
            <a:r>
              <a:rPr lang="en-AU" sz="20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Arial"/>
              </a:rPr>
              <a:t>về</a:t>
            </a:r>
            <a:r>
              <a:rPr lang="en-AU" sz="20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Arial"/>
              </a:rPr>
              <a:t>các</a:t>
            </a:r>
            <a:r>
              <a:rPr lang="en-AU" sz="20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Arial"/>
              </a:rPr>
              <a:t>dạng</a:t>
            </a:r>
            <a:r>
              <a:rPr lang="en-AU" sz="20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Arial"/>
              </a:rPr>
              <a:t>xâm</a:t>
            </a:r>
            <a:r>
              <a:rPr lang="en-AU" sz="20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Arial"/>
              </a:rPr>
              <a:t>hại</a:t>
            </a:r>
            <a:r>
              <a:rPr lang="en-AU" sz="20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Arial"/>
              </a:rPr>
              <a:t>trẻ</a:t>
            </a:r>
            <a:r>
              <a:rPr lang="en-AU" sz="20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Arial"/>
              </a:rPr>
              <a:t>em</a:t>
            </a:r>
            <a:endParaRPr lang="en-AU" sz="2000" dirty="0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27" name="Elbow Connector 26"/>
          <p:cNvCxnSpPr>
            <a:cxnSpLocks/>
            <a:stCxn id="32" idx="0"/>
            <a:endCxn id="10" idx="2"/>
          </p:cNvCxnSpPr>
          <p:nvPr/>
        </p:nvCxnSpPr>
        <p:spPr>
          <a:xfrm rot="5400000" flipH="1" flipV="1">
            <a:off x="3852238" y="303465"/>
            <a:ext cx="374325" cy="277647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B61D8A"/>
            </a:solidFill>
            <a:miter lim="800000"/>
            <a:headEnd type="none" w="sm" len="sm"/>
            <a:tailEnd type="none" w="med" len="lg"/>
          </a:ln>
        </p:spPr>
      </p:cxnSp>
      <p:cxnSp>
        <p:nvCxnSpPr>
          <p:cNvPr id="28" name="Elbow Connector 27"/>
          <p:cNvCxnSpPr>
            <a:cxnSpLocks/>
            <a:stCxn id="33" idx="0"/>
            <a:endCxn id="10" idx="2"/>
          </p:cNvCxnSpPr>
          <p:nvPr/>
        </p:nvCxnSpPr>
        <p:spPr>
          <a:xfrm rot="16200000" flipV="1">
            <a:off x="6841875" y="90303"/>
            <a:ext cx="1033645" cy="3862117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B61D8A"/>
            </a:solidFill>
            <a:miter lim="800000"/>
            <a:headEnd type="none" w="sm" len="sm"/>
            <a:tailEnd type="none" w="med" len="lg"/>
          </a:ln>
        </p:spPr>
      </p:cxnSp>
      <p:sp>
        <p:nvSpPr>
          <p:cNvPr id="32" name="Rectangle 31"/>
          <p:cNvSpPr>
            <a:spLocks noChangeArrowheads="1"/>
          </p:cNvSpPr>
          <p:nvPr/>
        </p:nvSpPr>
        <p:spPr bwMode="auto">
          <a:xfrm>
            <a:off x="0" y="1878864"/>
            <a:ext cx="5302326" cy="471870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algn="ctr">
            <a:solidFill>
              <a:srgbClr val="B61D8A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72000" defTabSz="957998">
              <a:lnSpc>
                <a:spcPct val="106000"/>
              </a:lnSpc>
              <a:spcBef>
                <a:spcPts val="1344"/>
              </a:spcBef>
            </a:pP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Bởi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vì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phải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xem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xét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mà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quyết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xem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liên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bị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đang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nguy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cơ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bị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529200" lvl="1" defTabSz="957998">
              <a:lnSpc>
                <a:spcPct val="106000"/>
              </a:lnSpc>
              <a:spcBef>
                <a:spcPts val="1344"/>
              </a:spcBef>
            </a:pP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nghĩa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phải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quyết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 </a:t>
            </a:r>
          </a:p>
          <a:p>
            <a:pPr marL="529200" lvl="1" defTabSz="957998">
              <a:lnSpc>
                <a:spcPct val="106000"/>
              </a:lnSpc>
              <a:spcBef>
                <a:spcPts val="1344"/>
              </a:spcBef>
            </a:pP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Đây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thể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trường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XHTE</a:t>
            </a:r>
          </a:p>
          <a:p>
            <a:pPr marL="529200" lvl="1" defTabSz="957998">
              <a:lnSpc>
                <a:spcPct val="106000"/>
              </a:lnSpc>
              <a:spcBef>
                <a:spcPts val="1344"/>
              </a:spcBef>
            </a:pP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endParaRPr lang="en-AU" sz="20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529200" lvl="1" defTabSz="957998">
              <a:lnSpc>
                <a:spcPct val="106000"/>
              </a:lnSpc>
              <a:spcBef>
                <a:spcPts val="1344"/>
              </a:spcBef>
            </a:pP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Đây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phải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trường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XHTE</a:t>
            </a:r>
          </a:p>
        </p:txBody>
      </p:sp>
      <p:sp>
        <p:nvSpPr>
          <p:cNvPr id="33" name="Rectangle 32"/>
          <p:cNvSpPr>
            <a:spLocks noChangeArrowheads="1"/>
          </p:cNvSpPr>
          <p:nvPr/>
        </p:nvSpPr>
        <p:spPr bwMode="auto">
          <a:xfrm>
            <a:off x="6412375" y="2538184"/>
            <a:ext cx="5754759" cy="13119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algn="ctr">
            <a:solidFill>
              <a:srgbClr val="B61D8A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72000" defTabSz="957998">
              <a:lnSpc>
                <a:spcPct val="106000"/>
              </a:lnSpc>
              <a:spcBef>
                <a:spcPts val="1344"/>
              </a:spcBef>
            </a:pPr>
            <a:r>
              <a:rPr lang="en-AU" sz="2400" dirty="0" err="1">
                <a:solidFill>
                  <a:prstClr val="black"/>
                </a:solidFill>
                <a:latin typeface="Arial"/>
              </a:rPr>
              <a:t>Để</a:t>
            </a:r>
            <a:r>
              <a:rPr lang="en-AU" sz="24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Arial"/>
              </a:rPr>
              <a:t>đánh</a:t>
            </a:r>
            <a:r>
              <a:rPr lang="en-AU" sz="24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Arial"/>
              </a:rPr>
              <a:t>giá</a:t>
            </a:r>
            <a:r>
              <a:rPr lang="en-AU" sz="2400" dirty="0">
                <a:solidFill>
                  <a:prstClr val="black"/>
                </a:solidFill>
                <a:latin typeface="Arial"/>
              </a:rPr>
              <a:t>, </a:t>
            </a:r>
            <a:r>
              <a:rPr lang="en-AU" sz="2400" dirty="0" err="1">
                <a:solidFill>
                  <a:prstClr val="black"/>
                </a:solidFill>
                <a:latin typeface="Arial"/>
              </a:rPr>
              <a:t>bạn</a:t>
            </a:r>
            <a:r>
              <a:rPr lang="en-AU" sz="24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Arial"/>
              </a:rPr>
              <a:t>cần</a:t>
            </a:r>
            <a:r>
              <a:rPr lang="en-AU" sz="24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Arial"/>
              </a:rPr>
              <a:t>kiến</a:t>
            </a:r>
            <a:r>
              <a:rPr lang="en-AU" sz="24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Arial"/>
              </a:rPr>
              <a:t>thức</a:t>
            </a:r>
            <a:r>
              <a:rPr lang="en-AU" sz="24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Arial"/>
              </a:rPr>
              <a:t>để</a:t>
            </a:r>
            <a:r>
              <a:rPr lang="en-AU" sz="2400" dirty="0">
                <a:solidFill>
                  <a:prstClr val="black"/>
                </a:solidFill>
                <a:latin typeface="Arial"/>
              </a:rPr>
              <a:t> so </a:t>
            </a:r>
            <a:r>
              <a:rPr lang="en-AU" sz="2400" dirty="0" err="1">
                <a:solidFill>
                  <a:prstClr val="black"/>
                </a:solidFill>
                <a:latin typeface="Arial"/>
              </a:rPr>
              <a:t>sánh</a:t>
            </a:r>
            <a:r>
              <a:rPr lang="en-AU" sz="24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Arial"/>
              </a:rPr>
              <a:t>và</a:t>
            </a:r>
            <a:r>
              <a:rPr lang="en-AU" sz="24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Arial"/>
              </a:rPr>
              <a:t>tham</a:t>
            </a:r>
            <a:r>
              <a:rPr lang="en-AU" sz="24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Arial"/>
              </a:rPr>
              <a:t>chiếu</a:t>
            </a:r>
            <a:r>
              <a:rPr lang="en-AU" sz="24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Arial"/>
              </a:rPr>
              <a:t>nhằm</a:t>
            </a:r>
            <a:r>
              <a:rPr lang="en-AU" sz="24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Arial"/>
              </a:rPr>
              <a:t>đưa</a:t>
            </a:r>
            <a:r>
              <a:rPr lang="en-AU" sz="2400" dirty="0">
                <a:solidFill>
                  <a:prstClr val="black"/>
                </a:solidFill>
                <a:latin typeface="Arial"/>
              </a:rPr>
              <a:t> ra </a:t>
            </a:r>
            <a:r>
              <a:rPr lang="en-AU" sz="2400" dirty="0" err="1">
                <a:solidFill>
                  <a:prstClr val="black"/>
                </a:solidFill>
                <a:latin typeface="Arial"/>
              </a:rPr>
              <a:t>quyết</a:t>
            </a:r>
            <a:r>
              <a:rPr lang="en-AU" sz="24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Arial"/>
              </a:rPr>
              <a:t>định</a:t>
            </a:r>
            <a:r>
              <a:rPr lang="en-AU" sz="24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Arial"/>
              </a:rPr>
              <a:t>về</a:t>
            </a:r>
            <a:r>
              <a:rPr lang="en-AU" sz="24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Arial"/>
              </a:rPr>
              <a:t>thông</a:t>
            </a:r>
            <a:r>
              <a:rPr lang="en-AU" sz="2400" dirty="0">
                <a:solidFill>
                  <a:prstClr val="black"/>
                </a:solidFill>
                <a:latin typeface="Arial"/>
              </a:rPr>
              <a:t> tin </a:t>
            </a:r>
            <a:r>
              <a:rPr lang="en-AU" sz="2400" dirty="0" err="1">
                <a:solidFill>
                  <a:prstClr val="black"/>
                </a:solidFill>
                <a:latin typeface="Arial"/>
              </a:rPr>
              <a:t>mà</a:t>
            </a:r>
            <a:r>
              <a:rPr lang="en-AU" sz="24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Arial"/>
              </a:rPr>
              <a:t>bạn</a:t>
            </a:r>
            <a:r>
              <a:rPr lang="en-AU" sz="24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Arial"/>
              </a:rPr>
              <a:t>có</a:t>
            </a:r>
            <a:endParaRPr lang="en-AU" sz="2400" dirty="0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46" name="Elbow Connector 45"/>
          <p:cNvCxnSpPr>
            <a:cxnSpLocks/>
            <a:stCxn id="13" idx="0"/>
            <a:endCxn id="33" idx="2"/>
          </p:cNvCxnSpPr>
          <p:nvPr/>
        </p:nvCxnSpPr>
        <p:spPr>
          <a:xfrm rot="5400000" flipH="1" flipV="1">
            <a:off x="7948612" y="3052565"/>
            <a:ext cx="543569" cy="2138717"/>
          </a:xfrm>
          <a:prstGeom prst="bentConnector3">
            <a:avLst/>
          </a:prstGeom>
          <a:noFill/>
          <a:ln w="12700">
            <a:solidFill>
              <a:srgbClr val="B61D8A"/>
            </a:solidFill>
            <a:miter lim="800000"/>
            <a:headEnd type="none" w="sm" len="sm"/>
            <a:tailEnd type="none" w="med" len="lg"/>
          </a:ln>
        </p:spPr>
      </p:cxnSp>
      <p:cxnSp>
        <p:nvCxnSpPr>
          <p:cNvPr id="48" name="Elbow Connector 47"/>
          <p:cNvCxnSpPr>
            <a:cxnSpLocks/>
            <a:stCxn id="14" idx="0"/>
            <a:endCxn id="33" idx="2"/>
          </p:cNvCxnSpPr>
          <p:nvPr/>
        </p:nvCxnSpPr>
        <p:spPr>
          <a:xfrm rot="16200000" flipV="1">
            <a:off x="9707352" y="3432541"/>
            <a:ext cx="427902" cy="1263095"/>
          </a:xfrm>
          <a:prstGeom prst="bentConnector3">
            <a:avLst/>
          </a:prstGeom>
          <a:noFill/>
          <a:ln w="12700">
            <a:solidFill>
              <a:srgbClr val="B61D8A"/>
            </a:solidFill>
            <a:miter lim="800000"/>
            <a:headEnd type="none" w="sm" len="sm"/>
            <a:tailEnd type="none" w="med" len="lg"/>
          </a:ln>
        </p:spPr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C5CC06AD-D865-9C4A-94CC-3147DB033029}"/>
              </a:ext>
            </a:extLst>
          </p:cNvPr>
          <p:cNvSpPr/>
          <p:nvPr/>
        </p:nvSpPr>
        <p:spPr>
          <a:xfrm>
            <a:off x="5682476" y="6108987"/>
            <a:ext cx="6509524" cy="749013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Ghi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hớ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ự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xuất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iện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1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hỉ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áo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ủ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ể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xác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ấn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ề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liên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hu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ầu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XHTE.</a:t>
            </a:r>
          </a:p>
        </p:txBody>
      </p:sp>
    </p:spTree>
    <p:extLst>
      <p:ext uri="{BB962C8B-B14F-4D97-AF65-F5344CB8AC3E}">
        <p14:creationId xmlns:p14="http://schemas.microsoft.com/office/powerpoint/2010/main" val="85217802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F16B3A-A877-C043-BE5A-B66C55E46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9959"/>
            <a:ext cx="10515600" cy="526126"/>
          </a:xfrm>
        </p:spPr>
        <p:txBody>
          <a:bodyPr>
            <a:normAutofit fontScale="90000"/>
          </a:bodyPr>
          <a:lstStyle/>
          <a:p>
            <a:pPr algn="ctr"/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ầm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rọng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bướ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đánh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giá</a:t>
            </a:r>
            <a:endParaRPr lang="en-AU" sz="3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A0A2C7D3-33A9-1447-A447-17E560F55AF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05356716"/>
              </p:ext>
            </p:extLst>
          </p:nvPr>
        </p:nvGraphicFramePr>
        <p:xfrm>
          <a:off x="1" y="636086"/>
          <a:ext cx="12192000" cy="61119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6765750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2718"/>
            <a:ext cx="10397067" cy="507682"/>
          </a:xfrm>
        </p:spPr>
        <p:txBody>
          <a:bodyPr>
            <a:normAutofit fontScale="90000"/>
          </a:bodyPr>
          <a:lstStyle/>
          <a:p>
            <a:pPr algn="ctr"/>
            <a:r>
              <a:rPr lang="en-AU" dirty="0" err="1">
                <a:latin typeface="Times New Roman" pitchFamily="18" charset="0"/>
                <a:cs typeface="Times New Roman" pitchFamily="18" charset="0"/>
              </a:rPr>
              <a:t>Đánh</a:t>
            </a:r>
            <a:r>
              <a:rPr lang="en-AU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latin typeface="Times New Roman" pitchFamily="18" charset="0"/>
                <a:cs typeface="Times New Roman" pitchFamily="18" charset="0"/>
              </a:rPr>
              <a:t>giá</a:t>
            </a:r>
            <a:r>
              <a:rPr lang="en-AU" dirty="0"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en-AU" sz="3600" dirty="0" err="1">
                <a:latin typeface="Times New Roman" pitchFamily="18" charset="0"/>
                <a:cs typeface="Times New Roman" pitchFamily="18" charset="0"/>
              </a:rPr>
              <a:t>Ví</a:t>
            </a:r>
            <a:r>
              <a:rPr lang="en-AU" sz="3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600" dirty="0" err="1">
                <a:latin typeface="Times New Roman" pitchFamily="18" charset="0"/>
                <a:cs typeface="Times New Roman" pitchFamily="18" charset="0"/>
              </a:rPr>
              <a:t>dụ</a:t>
            </a:r>
            <a:endParaRPr lang="en-AU" sz="36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Content Placeholder 5"/>
          <p:cNvGraphicFramePr>
            <a:graphicFrameLocks/>
          </p:cNvGraphicFramePr>
          <p:nvPr/>
        </p:nvGraphicFramePr>
        <p:xfrm>
          <a:off x="0" y="776147"/>
          <a:ext cx="12191998" cy="5385141"/>
        </p:xfrm>
        <a:graphic>
          <a:graphicData uri="http://schemas.openxmlformats.org/drawingml/2006/table">
            <a:tbl>
              <a:tblPr firstRow="1" bandRow="1">
                <a:effectLst/>
                <a:tableStyleId>{35758FB7-9AC5-4552-8A53-C91805E547FA}</a:tableStyleId>
              </a:tblPr>
              <a:tblGrid>
                <a:gridCol w="9415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188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496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293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85251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815374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H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Nhu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cầu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chăm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sóc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của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endParaRPr lang="en-US" sz="20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Chỉ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báo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(Quan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sát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cụ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Xâm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hại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em</a:t>
                      </a:r>
                      <a:endParaRPr lang="en-US" sz="20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Chỉ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báo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(Quan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sát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cụ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24447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tin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ho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ấ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ược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hăm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sóc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mặt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xã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hộ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ở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rườ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ở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hà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ro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mố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qua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hệ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ớ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anh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ra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tin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ũ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ho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ấ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ảm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ấ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iếu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sự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qua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âm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ảm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xúc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bở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cha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mẹ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l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hô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tin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rằ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bị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bắt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ạt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ở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rườ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Nam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tin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rằ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ánh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hau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ớ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anh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ra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Nam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báo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iệc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cha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mẹ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l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hô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rất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buồ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iệc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à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hắc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hắ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iệc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xả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ra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xâm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hạ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ạ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hà</a:t>
                      </a:r>
                      <a:endParaRPr lang="en-US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iệc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bị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bắt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ạt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ở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rườ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buồ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kh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iều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ày</a:t>
                      </a:r>
                      <a:endParaRPr lang="en-US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4532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tin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ho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ấ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ẻ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bé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ược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hăm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sóc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mặt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hất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một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ách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ầ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ủ</a:t>
                      </a:r>
                      <a:endParaRPr lang="en-US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ết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ắt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ết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âm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ím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ằ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sau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lư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endParaRPr lang="en-US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hữ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ươ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ổ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rê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ơ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phả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do tai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ạ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gâ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ra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sẵ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sà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u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ấp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ti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giả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ích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hư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ẻ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hợp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lý</a:t>
                      </a:r>
                      <a:endParaRPr lang="en-US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167715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463" y="-10545"/>
            <a:ext cx="11945074" cy="674043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Bướ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4: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Quyết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báo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đúng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người</a:t>
            </a:r>
            <a:endParaRPr lang="en-AU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456764" y="736136"/>
            <a:ext cx="8362950" cy="576858"/>
          </a:xfrm>
        </p:spPr>
        <p:txBody>
          <a:bodyPr/>
          <a:lstStyle/>
          <a:p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Quyết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ố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ựa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ên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ết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quả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3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ước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ã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hực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iện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ước</a:t>
            </a:r>
            <a:r>
              <a:rPr lang="en-AU" sz="2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ó</a:t>
            </a:r>
            <a:endParaRPr lang="en-AU" sz="2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AutoShape 3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3068" y="2851909"/>
            <a:ext cx="4915250" cy="674042"/>
          </a:xfrm>
          <a:prstGeom prst="chevron">
            <a:avLst>
              <a:gd name="adj" fmla="val 14014"/>
            </a:avLst>
          </a:prstGeom>
          <a:solidFill>
            <a:schemeClr val="accent1">
              <a:lumMod val="20000"/>
              <a:lumOff val="8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>
              <a:lnSpc>
                <a:spcPct val="106000"/>
              </a:lnSpc>
              <a:defRPr/>
            </a:pPr>
            <a:r>
              <a:rPr lang="en-AU" sz="3200" b="1" dirty="0">
                <a:solidFill>
                  <a:srgbClr val="000000"/>
                </a:solidFill>
              </a:rPr>
              <a:t>1.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uyện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ì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ang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iễn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ra?</a:t>
            </a:r>
            <a:endParaRPr lang="en-AU" sz="3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AutoShape 3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278599" y="2851909"/>
            <a:ext cx="3425563" cy="674042"/>
          </a:xfrm>
          <a:prstGeom prst="chevron">
            <a:avLst>
              <a:gd name="adj" fmla="val 14014"/>
            </a:avLst>
          </a:prstGeom>
          <a:solidFill>
            <a:schemeClr val="accent5">
              <a:lumMod val="20000"/>
              <a:lumOff val="8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>
              <a:lnSpc>
                <a:spcPct val="106000"/>
              </a:lnSpc>
              <a:defRPr/>
            </a:pPr>
            <a:r>
              <a:rPr lang="en-AU" sz="2400" b="1" dirty="0" err="1">
                <a:latin typeface="Times New Roman" pitchFamily="18" charset="0"/>
                <a:cs typeface="Times New Roman" pitchFamily="18" charset="0"/>
              </a:rPr>
              <a:t>Sắp</a:t>
            </a:r>
            <a:r>
              <a:rPr lang="en-AU" sz="24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latin typeface="Times New Roman" pitchFamily="18" charset="0"/>
                <a:cs typeface="Times New Roman" pitchFamily="18" charset="0"/>
              </a:rPr>
              <a:t>xếp</a:t>
            </a:r>
            <a:r>
              <a:rPr lang="en-AU" sz="24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400" b="1" dirty="0"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AU" sz="2400" b="1" dirty="0" err="1">
                <a:latin typeface="Times New Roman" pitchFamily="18" charset="0"/>
                <a:cs typeface="Times New Roman" pitchFamily="18" charset="0"/>
              </a:rPr>
              <a:t>rõ</a:t>
            </a:r>
            <a:r>
              <a:rPr lang="en-AU" sz="24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latin typeface="Times New Roman" pitchFamily="18" charset="0"/>
                <a:cs typeface="Times New Roman" pitchFamily="18" charset="0"/>
              </a:rPr>
              <a:t>ràng</a:t>
            </a:r>
            <a:r>
              <a:rPr lang="en-AU" sz="24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AU" sz="24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latin typeface="Times New Roman" pitchFamily="18" charset="0"/>
                <a:cs typeface="Times New Roman" pitchFamily="18" charset="0"/>
              </a:rPr>
              <a:t>suy</a:t>
            </a:r>
            <a:r>
              <a:rPr lang="en-AU" sz="24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latin typeface="Times New Roman" pitchFamily="18" charset="0"/>
                <a:cs typeface="Times New Roman" pitchFamily="18" charset="0"/>
              </a:rPr>
              <a:t>nghĩ</a:t>
            </a:r>
            <a:endParaRPr lang="en-AU" sz="2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AutoShape 3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38896" y="3619054"/>
            <a:ext cx="4915250" cy="1682154"/>
          </a:xfrm>
          <a:prstGeom prst="chevron">
            <a:avLst>
              <a:gd name="adj" fmla="val 14014"/>
            </a:avLst>
          </a:prstGeom>
          <a:solidFill>
            <a:schemeClr val="tx2">
              <a:lumMod val="20000"/>
              <a:lumOff val="8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>
              <a:lnSpc>
                <a:spcPct val="106000"/>
              </a:lnSpc>
              <a:defRPr/>
            </a:pPr>
            <a:r>
              <a:rPr lang="en-AU" sz="3200" b="1" dirty="0">
                <a:solidFill>
                  <a:srgbClr val="000000"/>
                </a:solidFill>
              </a:rPr>
              <a:t>2.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ào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phần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ọng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?</a:t>
            </a:r>
          </a:p>
        </p:txBody>
      </p:sp>
      <p:sp>
        <p:nvSpPr>
          <p:cNvPr id="11" name="AutoShape 3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917032" y="3619054"/>
            <a:ext cx="4157519" cy="1682154"/>
          </a:xfrm>
          <a:prstGeom prst="chevron">
            <a:avLst>
              <a:gd name="adj" fmla="val 14014"/>
            </a:avLst>
          </a:prstGeom>
          <a:solidFill>
            <a:schemeClr val="accent5">
              <a:lumMod val="20000"/>
              <a:lumOff val="8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>
              <a:lnSpc>
                <a:spcPct val="106000"/>
              </a:lnSpc>
              <a:defRPr/>
            </a:pP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chỉ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báo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chuyện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trọng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xảy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ra) –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liên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nhu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cầu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chăm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sóc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HV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TE</a:t>
            </a:r>
          </a:p>
        </p:txBody>
      </p:sp>
      <p:sp>
        <p:nvSpPr>
          <p:cNvPr id="12" name="AutoShape 3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55609" y="5362983"/>
            <a:ext cx="4673965" cy="674042"/>
          </a:xfrm>
          <a:prstGeom prst="chevron">
            <a:avLst>
              <a:gd name="adj" fmla="val 14014"/>
            </a:avLst>
          </a:prstGeom>
          <a:solidFill>
            <a:schemeClr val="tx2">
              <a:lumMod val="20000"/>
              <a:lumOff val="8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>
              <a:lnSpc>
                <a:spcPct val="106000"/>
              </a:lnSpc>
              <a:defRPr/>
            </a:pP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ại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ao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ôi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ại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ấy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hi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ại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? </a:t>
            </a:r>
          </a:p>
        </p:txBody>
      </p:sp>
      <p:sp>
        <p:nvSpPr>
          <p:cNvPr id="13" name="AutoShape 3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917033" y="5419254"/>
            <a:ext cx="3787129" cy="674042"/>
          </a:xfrm>
          <a:prstGeom prst="chevron">
            <a:avLst>
              <a:gd name="adj" fmla="val 14014"/>
            </a:avLst>
          </a:prstGeom>
          <a:solidFill>
            <a:schemeClr val="accent5">
              <a:lumMod val="20000"/>
              <a:lumOff val="8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>
              <a:lnSpc>
                <a:spcPct val="106000"/>
              </a:lnSpc>
              <a:defRPr/>
            </a:pP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Đây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điều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trọng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khiến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lo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lắng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Sử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dụng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1-2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chỉ</a:t>
            </a:r>
            <a:r>
              <a:rPr lang="en-A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latin typeface="Times New Roman" pitchFamily="18" charset="0"/>
                <a:cs typeface="Times New Roman" pitchFamily="18" charset="0"/>
              </a:rPr>
              <a:t>báo</a:t>
            </a:r>
            <a:endParaRPr lang="en-AU" sz="2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AutoShape 3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704162" y="2837916"/>
            <a:ext cx="3379808" cy="3244429"/>
          </a:xfrm>
          <a:prstGeom prst="chevron">
            <a:avLst>
              <a:gd name="adj" fmla="val 14014"/>
            </a:avLst>
          </a:prstGeom>
          <a:solidFill>
            <a:schemeClr val="bg2">
              <a:lumMod val="90000"/>
            </a:schemeClr>
          </a:solidFill>
          <a:ln w="12700" cap="rnd" algn="ctr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marL="180000">
              <a:lnSpc>
                <a:spcPct val="106000"/>
              </a:lnSpc>
              <a:defRPr/>
            </a:pP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4.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Quyết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ố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phù</a:t>
            </a:r>
            <a:r>
              <a:rPr lang="en-AU" sz="32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ợp</a:t>
            </a:r>
            <a:endParaRPr lang="en-AU" sz="3200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AutoShape 3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04554" y="1832922"/>
            <a:ext cx="11111696" cy="584200"/>
          </a:xfrm>
          <a:prstGeom prst="chevron">
            <a:avLst>
              <a:gd name="adj" fmla="val 34975"/>
            </a:avLst>
          </a:prstGeom>
          <a:solidFill>
            <a:srgbClr val="FFC000"/>
          </a:solidFill>
          <a:ln w="12700" cap="rnd" algn="ctr">
            <a:noFill/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>
              <a:lnSpc>
                <a:spcPct val="106000"/>
              </a:lnSpc>
              <a:defRPr/>
            </a:pPr>
            <a:r>
              <a:rPr lang="en-A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4 </a:t>
            </a:r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ước</a:t>
            </a:r>
            <a:r>
              <a:rPr lang="en-A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ể</a:t>
            </a:r>
            <a:r>
              <a:rPr lang="en-A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quyết</a:t>
            </a:r>
            <a:r>
              <a:rPr lang="en-A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ành</a:t>
            </a:r>
            <a:r>
              <a:rPr lang="en-A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ộng</a:t>
            </a:r>
            <a:r>
              <a:rPr lang="en-A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ắn</a:t>
            </a:r>
            <a:r>
              <a:rPr lang="en-A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ết</a:t>
            </a:r>
            <a:r>
              <a:rPr lang="en-A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A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uy</a:t>
            </a:r>
            <a:r>
              <a:rPr lang="en-A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hĩ</a:t>
            </a:r>
            <a:endParaRPr lang="en-AU" sz="2400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058601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152718"/>
            <a:ext cx="7927683" cy="449646"/>
          </a:xfrm>
        </p:spPr>
        <p:txBody>
          <a:bodyPr>
            <a:noAutofit/>
          </a:bodyPr>
          <a:lstStyle/>
          <a:p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Quyết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Ví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dụ</a:t>
            </a:r>
            <a:endParaRPr lang="en-AU" sz="3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Content Placeholder 3"/>
          <p:cNvGraphicFramePr>
            <a:graphicFrameLocks/>
          </p:cNvGraphicFramePr>
          <p:nvPr/>
        </p:nvGraphicFramePr>
        <p:xfrm>
          <a:off x="0" y="752354"/>
          <a:ext cx="12191999" cy="6129939"/>
        </p:xfrm>
        <a:graphic>
          <a:graphicData uri="http://schemas.openxmlformats.org/drawingml/2006/table">
            <a:tbl>
              <a:tblPr firstRow="1" bandRow="1">
                <a:effectLst/>
                <a:tableStyleId>{35758FB7-9AC5-4552-8A53-C91805E547FA}</a:tableStyleId>
              </a:tblPr>
              <a:tblGrid>
                <a:gridCol w="12370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34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904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7714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43394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114333"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H</a:t>
                      </a:r>
                    </a:p>
                    <a:p>
                      <a:pPr marL="0" algn="l" defTabSz="859512" rtl="0" eaLnBrk="1" latinLnBrk="0" hangingPunct="1"/>
                      <a:endParaRPr lang="en-US" sz="20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Chuyện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gì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xảy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ra</a:t>
                      </a:r>
                      <a:endParaRPr lang="en-US" sz="20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hông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tin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quan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rọng</a:t>
                      </a:r>
                      <a:endParaRPr lang="en-US" sz="20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ại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sao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ôi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lại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nghi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ngại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?</a:t>
                      </a:r>
                      <a:endParaRPr lang="en-US" sz="20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ại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sao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ôi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lại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quyết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định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ố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cáo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b="1" kern="12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với</a:t>
                      </a: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CBBVTE?</a:t>
                      </a:r>
                      <a:endParaRPr lang="en-US" sz="20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5947"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</a:p>
                    <a:p>
                      <a:pPr marL="0" algn="l" defTabSz="859512" rtl="0" eaLnBrk="1" latinLnBrk="0" hangingPunct="1"/>
                      <a:endParaRPr lang="en-US" sz="20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dườ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như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ui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mặt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ảm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xúc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xã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hội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bị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bắt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nạt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ại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rườ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0" algn="l" defTabSz="859512" rtl="0" eaLnBrk="1" latinLnBrk="0" hangingPunct="1"/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ai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hích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ở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nhà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nghĩa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là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hiếu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sự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hăm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sóc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âm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lý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ảm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xúc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ì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bố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mẹ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ly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hôn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ă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hẳ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ui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ôi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ảm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hấy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ần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ìm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hiểu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xem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huyên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gì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xảy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ra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ới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ở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nhà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ở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rường</a:t>
                      </a:r>
                      <a:endParaRPr lang="en-US" sz="2000" kern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95366"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kern="1200" dirty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nhữ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ết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bầm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ím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ết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hươ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mà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rõ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nguyên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nhân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Nam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nhữ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ổn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hươ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lớn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mặt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hất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</a:p>
                    <a:p>
                      <a:pPr marL="0" algn="l" defTabSz="859512" rtl="0" eaLnBrk="1" latinLnBrk="0" hangingPunct="1"/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âu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huyện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mà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Nam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kể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để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giải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hích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ết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hươ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ẻ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hợp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lý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0" algn="l" defTabSz="859512" rtl="0" eaLnBrk="1" latinLnBrk="0" hangingPunct="1"/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Nam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dườ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như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sẵn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sà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huyện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gì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đã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xảy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ra.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8595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bị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xâm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hại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59512" rtl="0" eaLnBrk="1" latinLnBrk="0" hangingPunct="1"/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Quan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ngại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nhữ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gì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xảy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ra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ới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Nam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khi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òn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sử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dụ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dịch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ụ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ủa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hú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ôi</a:t>
                      </a:r>
                      <a:endParaRPr lang="en-US" sz="2000" kern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algn="l" defTabSz="859512" rtl="0" eaLnBrk="1" latinLnBrk="0" hangingPunct="1"/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ác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ết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hương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ần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được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kiểm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ra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y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ế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ngay</a:t>
                      </a:r>
                      <a:endParaRPr lang="en-US" sz="2000" kern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algn="l" defTabSz="859512" rtl="0" eaLnBrk="1" latinLnBrk="0" hangingPunct="1"/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Ai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đó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xem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xét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việc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đã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kern="1200" dirty="0" err="1">
                          <a:latin typeface="Times New Roman" pitchFamily="18" charset="0"/>
                          <a:cs typeface="Times New Roman" pitchFamily="18" charset="0"/>
                        </a:rPr>
                        <a:t>xảy</a:t>
                      </a:r>
                      <a:r>
                        <a:rPr lang="en-US" sz="2000" kern="1200" dirty="0">
                          <a:latin typeface="Times New Roman" pitchFamily="18" charset="0"/>
                          <a:cs typeface="Times New Roman" pitchFamily="18" charset="0"/>
                        </a:rPr>
                        <a:t> ra</a:t>
                      </a:r>
                      <a:endParaRPr lang="en-US" sz="2000" kern="1200" dirty="0">
                        <a:solidFill>
                          <a:schemeClr val="dk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5811100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152718"/>
            <a:ext cx="8253310" cy="693848"/>
          </a:xfrm>
        </p:spPr>
        <p:txBody>
          <a:bodyPr>
            <a:normAutofit/>
          </a:bodyPr>
          <a:lstStyle/>
          <a:p>
            <a:r>
              <a:rPr lang="en-AU" dirty="0" err="1">
                <a:latin typeface="Times New Roman" pitchFamily="18" charset="0"/>
                <a:cs typeface="Times New Roman" pitchFamily="18" charset="0"/>
              </a:rPr>
              <a:t>Quyết</a:t>
            </a:r>
            <a:r>
              <a:rPr lang="en-AU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latin typeface="Times New Roman" pitchFamily="18" charset="0"/>
                <a:cs typeface="Times New Roman" pitchFamily="18" charset="0"/>
              </a:rPr>
              <a:t>đinh</a:t>
            </a:r>
            <a:r>
              <a:rPr lang="en-AU" dirty="0"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en-AU" dirty="0" err="1"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latin typeface="Times New Roman" pitchFamily="18" charset="0"/>
                <a:cs typeface="Times New Roman" pitchFamily="18" charset="0"/>
              </a:rPr>
              <a:t>điệp</a:t>
            </a:r>
            <a:r>
              <a:rPr lang="en-AU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dirty="0" err="1">
                <a:latin typeface="Times New Roman" pitchFamily="18" charset="0"/>
                <a:cs typeface="Times New Roman" pitchFamily="18" charset="0"/>
              </a:rPr>
              <a:t>chính</a:t>
            </a:r>
            <a:endParaRPr lang="en-A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0" y="846565"/>
            <a:ext cx="12192000" cy="6121393"/>
          </a:xfr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pPr algn="ctr"/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Ghi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hớ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-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quyết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ự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iện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ã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xảy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ra hay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liệu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TH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TE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xảy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ra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iều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ần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quyết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</a:t>
            </a:r>
          </a:p>
          <a:p>
            <a:pPr algn="ctr"/>
            <a:endParaRPr lang="en-AU" sz="4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“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ghi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gại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(lo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lắng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ủ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lớn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uộc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rõ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ràng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ủ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iều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iện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ể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để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ôi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áo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ày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phù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440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AU" sz="4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942660320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71" y="152718"/>
            <a:ext cx="11829327" cy="645008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/>
              <a:t>Bước</a:t>
            </a:r>
            <a:r>
              <a:rPr lang="en-AU" sz="3200" dirty="0"/>
              <a:t> 5. </a:t>
            </a:r>
            <a:r>
              <a:rPr lang="en-AU" sz="3200" dirty="0" err="1"/>
              <a:t>Tố</a:t>
            </a:r>
            <a:r>
              <a:rPr lang="en-AU" sz="3200" dirty="0"/>
              <a:t> </a:t>
            </a:r>
            <a:r>
              <a:rPr lang="en-AU" sz="3200" dirty="0" err="1"/>
              <a:t>cáo</a:t>
            </a:r>
            <a:r>
              <a:rPr lang="en-AU" sz="3200" dirty="0"/>
              <a:t> – </a:t>
            </a:r>
            <a:r>
              <a:rPr lang="en-AU" sz="3200" dirty="0" err="1"/>
              <a:t>Tiến</a:t>
            </a:r>
            <a:r>
              <a:rPr lang="en-AU" sz="3200" dirty="0"/>
              <a:t> </a:t>
            </a:r>
            <a:r>
              <a:rPr lang="en-AU" sz="3200" dirty="0" err="1"/>
              <a:t>trình</a:t>
            </a:r>
            <a:endParaRPr lang="en-AU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0" y="797726"/>
            <a:ext cx="12192000" cy="1335130"/>
          </a:xfrm>
        </p:spPr>
        <p:txBody>
          <a:bodyPr/>
          <a:lstStyle/>
          <a:p>
            <a:pPr algn="ctr"/>
            <a:r>
              <a:rPr lang="en-AU" sz="2400" dirty="0" err="1">
                <a:solidFill>
                  <a:schemeClr val="tx1"/>
                </a:solidFill>
              </a:rPr>
              <a:t>Khi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ố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áo</a:t>
            </a:r>
            <a:r>
              <a:rPr lang="en-AU" sz="2400" dirty="0">
                <a:solidFill>
                  <a:schemeClr val="tx1"/>
                </a:solidFill>
              </a:rPr>
              <a:t>, </a:t>
            </a:r>
            <a:r>
              <a:rPr lang="en-AU" sz="2400" dirty="0" err="1">
                <a:solidFill>
                  <a:schemeClr val="tx1"/>
                </a:solidFill>
              </a:rPr>
              <a:t>điều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quan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rọ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là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ìm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đượ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người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phù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hợp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nhanh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nhất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ó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hể</a:t>
            </a:r>
            <a:r>
              <a:rPr lang="en-AU" sz="2400" dirty="0">
                <a:solidFill>
                  <a:schemeClr val="tx1"/>
                </a:solidFill>
              </a:rPr>
              <a:t>. Sau </a:t>
            </a:r>
            <a:r>
              <a:rPr lang="en-AU" sz="2400" dirty="0" err="1">
                <a:solidFill>
                  <a:schemeClr val="tx1"/>
                </a:solidFill>
              </a:rPr>
              <a:t>đó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huyết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phụ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họ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bằ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á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hông</a:t>
            </a:r>
            <a:r>
              <a:rPr lang="en-AU" sz="2400" dirty="0">
                <a:solidFill>
                  <a:schemeClr val="tx1"/>
                </a:solidFill>
              </a:rPr>
              <a:t> tin </a:t>
            </a:r>
            <a:r>
              <a:rPr lang="en-AU" sz="2400" dirty="0" err="1">
                <a:solidFill>
                  <a:schemeClr val="tx1"/>
                </a:solidFill>
              </a:rPr>
              <a:t>liên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quan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một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ách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rõ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rà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để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họ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ó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hể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đưa</a:t>
            </a:r>
            <a:r>
              <a:rPr lang="en-AU" sz="2400" dirty="0">
                <a:solidFill>
                  <a:schemeClr val="tx1"/>
                </a:solidFill>
              </a:rPr>
              <a:t> ra </a:t>
            </a:r>
            <a:r>
              <a:rPr lang="en-AU" sz="2400" dirty="0" err="1">
                <a:solidFill>
                  <a:schemeClr val="tx1"/>
                </a:solidFill>
              </a:rPr>
              <a:t>quyết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định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huyên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môn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chính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xá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về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việc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sẽ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xử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lý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trường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hợp</a:t>
            </a:r>
            <a:r>
              <a:rPr lang="en-AU" sz="2400" dirty="0">
                <a:solidFill>
                  <a:schemeClr val="tx1"/>
                </a:solidFill>
              </a:rPr>
              <a:t> </a:t>
            </a:r>
            <a:r>
              <a:rPr lang="en-AU" sz="2400" dirty="0" err="1">
                <a:solidFill>
                  <a:schemeClr val="tx1"/>
                </a:solidFill>
              </a:rPr>
              <a:t>này</a:t>
            </a:r>
            <a:r>
              <a:rPr lang="en-AU" sz="2400" dirty="0">
                <a:solidFill>
                  <a:schemeClr val="tx1"/>
                </a:solidFill>
              </a:rPr>
              <a:t> hay </a:t>
            </a:r>
            <a:r>
              <a:rPr lang="en-AU" sz="2400" dirty="0" err="1">
                <a:solidFill>
                  <a:schemeClr val="tx1"/>
                </a:solidFill>
              </a:rPr>
              <a:t>không</a:t>
            </a:r>
            <a:r>
              <a:rPr lang="en-AU" sz="2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2598175" y="4366609"/>
            <a:ext cx="1329552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defTabSz="957998">
              <a:lnSpc>
                <a:spcPct val="106000"/>
              </a:lnSpc>
              <a:spcBef>
                <a:spcPts val="1344"/>
              </a:spcBef>
            </a:pPr>
            <a:r>
              <a:rPr lang="en-AU" sz="1600" dirty="0" err="1">
                <a:solidFill>
                  <a:prstClr val="black"/>
                </a:solidFill>
                <a:latin typeface="Arial"/>
              </a:rPr>
              <a:t>Giới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tính</a:t>
            </a:r>
            <a:endParaRPr lang="en-AU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2" name="Text Box 10"/>
          <p:cNvSpPr txBox="1">
            <a:spLocks noChangeArrowheads="1"/>
          </p:cNvSpPr>
          <p:nvPr/>
        </p:nvSpPr>
        <p:spPr bwMode="auto">
          <a:xfrm>
            <a:off x="115714" y="3110186"/>
            <a:ext cx="2662838" cy="606846"/>
          </a:xfrm>
          <a:prstGeom prst="rect">
            <a:avLst/>
          </a:prstGeom>
          <a:solidFill>
            <a:srgbClr val="FF6600"/>
          </a:solidFill>
          <a:ln w="12700" algn="ctr">
            <a:solidFill>
              <a:schemeClr val="accent1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defTabSz="957263"/>
            <a:r>
              <a:rPr lang="en-AU" sz="1600" b="1" dirty="0">
                <a:solidFill>
                  <a:prstClr val="white"/>
                </a:solidFill>
              </a:rPr>
              <a:t>Ai </a:t>
            </a:r>
            <a:r>
              <a:rPr lang="en-AU" sz="1600" b="1" dirty="0" err="1">
                <a:solidFill>
                  <a:prstClr val="white"/>
                </a:solidFill>
              </a:rPr>
              <a:t>có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liên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quan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tới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sự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việc</a:t>
            </a:r>
            <a:r>
              <a:rPr lang="en-AU" sz="1600" b="1" dirty="0">
                <a:solidFill>
                  <a:prstClr val="white"/>
                </a:solidFill>
              </a:rPr>
              <a:t>?</a:t>
            </a:r>
          </a:p>
        </p:txBody>
      </p:sp>
      <p:sp>
        <p:nvSpPr>
          <p:cNvPr id="23" name="Text Box 10"/>
          <p:cNvSpPr txBox="1">
            <a:spLocks noChangeArrowheads="1"/>
          </p:cNvSpPr>
          <p:nvPr/>
        </p:nvSpPr>
        <p:spPr bwMode="auto">
          <a:xfrm>
            <a:off x="3219887" y="3109687"/>
            <a:ext cx="2662838" cy="606846"/>
          </a:xfrm>
          <a:prstGeom prst="rect">
            <a:avLst/>
          </a:prstGeom>
          <a:solidFill>
            <a:srgbClr val="008000"/>
          </a:solidFill>
          <a:ln w="12700" algn="ctr">
            <a:solidFill>
              <a:schemeClr val="accent1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defTabSz="957263"/>
            <a:r>
              <a:rPr lang="en-AU" b="1" dirty="0" err="1">
                <a:solidFill>
                  <a:prstClr val="white"/>
                </a:solidFill>
              </a:rPr>
              <a:t>Thông</a:t>
            </a:r>
            <a:r>
              <a:rPr lang="en-AU" b="1" dirty="0">
                <a:solidFill>
                  <a:prstClr val="white"/>
                </a:solidFill>
              </a:rPr>
              <a:t> tin </a:t>
            </a:r>
            <a:r>
              <a:rPr lang="en-AU" b="1" dirty="0" err="1">
                <a:solidFill>
                  <a:prstClr val="white"/>
                </a:solidFill>
              </a:rPr>
              <a:t>được</a:t>
            </a:r>
            <a:r>
              <a:rPr lang="en-AU" b="1" dirty="0">
                <a:solidFill>
                  <a:prstClr val="white"/>
                </a:solidFill>
              </a:rPr>
              <a:t> </a:t>
            </a:r>
            <a:r>
              <a:rPr lang="en-AU" b="1" dirty="0" err="1">
                <a:solidFill>
                  <a:prstClr val="white"/>
                </a:solidFill>
              </a:rPr>
              <a:t>thu</a:t>
            </a:r>
            <a:r>
              <a:rPr lang="en-AU" b="1" dirty="0">
                <a:solidFill>
                  <a:prstClr val="white"/>
                </a:solidFill>
              </a:rPr>
              <a:t> </a:t>
            </a:r>
            <a:r>
              <a:rPr lang="en-AU" b="1" dirty="0" err="1">
                <a:solidFill>
                  <a:prstClr val="white"/>
                </a:solidFill>
              </a:rPr>
              <a:t>thập</a:t>
            </a:r>
            <a:r>
              <a:rPr lang="en-AU" b="1" dirty="0">
                <a:solidFill>
                  <a:prstClr val="white"/>
                </a:solidFill>
              </a:rPr>
              <a:t> </a:t>
            </a:r>
            <a:r>
              <a:rPr lang="en-AU" b="1" dirty="0" err="1">
                <a:solidFill>
                  <a:prstClr val="white"/>
                </a:solidFill>
              </a:rPr>
              <a:t>như</a:t>
            </a:r>
            <a:r>
              <a:rPr lang="en-AU" b="1" dirty="0">
                <a:solidFill>
                  <a:prstClr val="white"/>
                </a:solidFill>
              </a:rPr>
              <a:t> </a:t>
            </a:r>
            <a:r>
              <a:rPr lang="en-AU" b="1" dirty="0" err="1">
                <a:solidFill>
                  <a:prstClr val="white"/>
                </a:solidFill>
              </a:rPr>
              <a:t>thế</a:t>
            </a:r>
            <a:r>
              <a:rPr lang="en-AU" b="1" dirty="0">
                <a:solidFill>
                  <a:prstClr val="white"/>
                </a:solidFill>
              </a:rPr>
              <a:t> </a:t>
            </a:r>
            <a:r>
              <a:rPr lang="en-AU" b="1" dirty="0" err="1">
                <a:solidFill>
                  <a:prstClr val="white"/>
                </a:solidFill>
              </a:rPr>
              <a:t>nào</a:t>
            </a:r>
            <a:r>
              <a:rPr lang="en-AU" b="1" dirty="0">
                <a:solidFill>
                  <a:prstClr val="white"/>
                </a:solidFill>
              </a:rPr>
              <a:t>?</a:t>
            </a:r>
          </a:p>
        </p:txBody>
      </p:sp>
      <p:sp>
        <p:nvSpPr>
          <p:cNvPr id="24" name="Text Box 10"/>
          <p:cNvSpPr txBox="1">
            <a:spLocks noChangeArrowheads="1"/>
          </p:cNvSpPr>
          <p:nvPr/>
        </p:nvSpPr>
        <p:spPr bwMode="auto">
          <a:xfrm>
            <a:off x="1851949" y="2034264"/>
            <a:ext cx="8275899" cy="50405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 algn="ctr">
            <a:solidFill>
              <a:schemeClr val="accent1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defTabSz="957263"/>
            <a:r>
              <a:rPr lang="en-AU" sz="2400" b="1" dirty="0" err="1">
                <a:solidFill>
                  <a:prstClr val="white"/>
                </a:solidFill>
              </a:rPr>
              <a:t>Khi</a:t>
            </a:r>
            <a:r>
              <a:rPr lang="en-AU" sz="2400" b="1" dirty="0">
                <a:solidFill>
                  <a:prstClr val="white"/>
                </a:solidFill>
              </a:rPr>
              <a:t> </a:t>
            </a:r>
            <a:r>
              <a:rPr lang="en-AU" sz="2400" b="1" dirty="0" err="1">
                <a:solidFill>
                  <a:prstClr val="white"/>
                </a:solidFill>
              </a:rPr>
              <a:t>tố</a:t>
            </a:r>
            <a:r>
              <a:rPr lang="en-AU" sz="2400" b="1" dirty="0">
                <a:solidFill>
                  <a:prstClr val="white"/>
                </a:solidFill>
              </a:rPr>
              <a:t> </a:t>
            </a:r>
            <a:r>
              <a:rPr lang="en-AU" sz="2400" b="1" dirty="0" err="1">
                <a:solidFill>
                  <a:prstClr val="white"/>
                </a:solidFill>
              </a:rPr>
              <a:t>cáo</a:t>
            </a:r>
            <a:r>
              <a:rPr lang="en-AU" sz="2400" b="1" dirty="0">
                <a:solidFill>
                  <a:prstClr val="white"/>
                </a:solidFill>
              </a:rPr>
              <a:t> </a:t>
            </a:r>
            <a:r>
              <a:rPr lang="en-AU" sz="2400" b="1" dirty="0" err="1">
                <a:solidFill>
                  <a:prstClr val="white"/>
                </a:solidFill>
              </a:rPr>
              <a:t>một</a:t>
            </a:r>
            <a:r>
              <a:rPr lang="en-AU" sz="2400" b="1" dirty="0">
                <a:solidFill>
                  <a:prstClr val="white"/>
                </a:solidFill>
              </a:rPr>
              <a:t> </a:t>
            </a:r>
            <a:r>
              <a:rPr lang="en-AU" sz="2400" b="1" dirty="0" err="1">
                <a:solidFill>
                  <a:prstClr val="white"/>
                </a:solidFill>
              </a:rPr>
              <a:t>vấn</a:t>
            </a:r>
            <a:r>
              <a:rPr lang="en-AU" sz="2400" b="1" dirty="0">
                <a:solidFill>
                  <a:prstClr val="white"/>
                </a:solidFill>
              </a:rPr>
              <a:t> </a:t>
            </a:r>
            <a:r>
              <a:rPr lang="en-AU" sz="2400" b="1" dirty="0" err="1">
                <a:solidFill>
                  <a:prstClr val="white"/>
                </a:solidFill>
              </a:rPr>
              <a:t>đề</a:t>
            </a:r>
            <a:endParaRPr lang="en-AU" sz="2400" b="1" dirty="0">
              <a:solidFill>
                <a:prstClr val="white"/>
              </a:solidFill>
            </a:endParaRPr>
          </a:p>
        </p:txBody>
      </p:sp>
      <p:cxnSp>
        <p:nvCxnSpPr>
          <p:cNvPr id="25" name="AutoShape 17"/>
          <p:cNvCxnSpPr>
            <a:cxnSpLocks noChangeShapeType="1"/>
            <a:stCxn id="22" idx="2"/>
            <a:endCxn id="30" idx="1"/>
          </p:cNvCxnSpPr>
          <p:nvPr>
            <p:custDataLst>
              <p:tags r:id="rId1"/>
            </p:custDataLst>
          </p:nvPr>
        </p:nvCxnSpPr>
        <p:spPr bwMode="auto">
          <a:xfrm rot="16200000" flipH="1">
            <a:off x="1865554" y="3298610"/>
            <a:ext cx="352599" cy="1189441"/>
          </a:xfrm>
          <a:prstGeom prst="bentConnector2">
            <a:avLst/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cxnSp>
        <p:nvCxnSpPr>
          <p:cNvPr id="26" name="AutoShape 18"/>
          <p:cNvCxnSpPr>
            <a:cxnSpLocks noChangeShapeType="1"/>
            <a:stCxn id="22" idx="2"/>
            <a:endCxn id="21" idx="1"/>
          </p:cNvCxnSpPr>
          <p:nvPr>
            <p:custDataLst>
              <p:tags r:id="rId2"/>
            </p:custDataLst>
          </p:nvPr>
        </p:nvCxnSpPr>
        <p:spPr bwMode="auto">
          <a:xfrm rot="16200000" flipH="1">
            <a:off x="1607866" y="3556299"/>
            <a:ext cx="829577" cy="1151042"/>
          </a:xfrm>
          <a:prstGeom prst="bentConnector2">
            <a:avLst/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sp>
        <p:nvSpPr>
          <p:cNvPr id="27" name="Rectangle 26"/>
          <p:cNvSpPr>
            <a:spLocks noChangeArrowheads="1"/>
          </p:cNvSpPr>
          <p:nvPr/>
        </p:nvSpPr>
        <p:spPr bwMode="auto">
          <a:xfrm>
            <a:off x="4669458" y="4166670"/>
            <a:ext cx="1426542" cy="674633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defTabSz="957998">
              <a:lnSpc>
                <a:spcPct val="106000"/>
              </a:lnSpc>
              <a:spcBef>
                <a:spcPts val="1344"/>
              </a:spcBef>
            </a:pPr>
            <a:r>
              <a:rPr lang="en-AU" sz="1600" dirty="0" err="1">
                <a:solidFill>
                  <a:prstClr val="black"/>
                </a:solidFill>
                <a:latin typeface="Arial"/>
              </a:rPr>
              <a:t>Được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kể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(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tự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tìm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hoặc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người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khác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kể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)</a:t>
            </a:r>
          </a:p>
        </p:txBody>
      </p:sp>
      <p:cxnSp>
        <p:nvCxnSpPr>
          <p:cNvPr id="28" name="AutoShape 17"/>
          <p:cNvCxnSpPr>
            <a:cxnSpLocks noChangeShapeType="1"/>
            <a:stCxn id="23" idx="2"/>
            <a:endCxn id="27" idx="1"/>
          </p:cNvCxnSpPr>
          <p:nvPr>
            <p:custDataLst>
              <p:tags r:id="rId3"/>
            </p:custDataLst>
          </p:nvPr>
        </p:nvCxnSpPr>
        <p:spPr bwMode="auto">
          <a:xfrm rot="16200000" flipH="1">
            <a:off x="4216655" y="4051184"/>
            <a:ext cx="787454" cy="118152"/>
          </a:xfrm>
          <a:prstGeom prst="bentConnector2">
            <a:avLst/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cxnSp>
        <p:nvCxnSpPr>
          <p:cNvPr id="29" name="AutoShape 18"/>
          <p:cNvCxnSpPr>
            <a:cxnSpLocks noChangeShapeType="1"/>
            <a:stCxn id="22" idx="2"/>
            <a:endCxn id="33" idx="1"/>
          </p:cNvCxnSpPr>
          <p:nvPr>
            <p:custDataLst>
              <p:tags r:id="rId4"/>
            </p:custDataLst>
          </p:nvPr>
        </p:nvCxnSpPr>
        <p:spPr bwMode="auto">
          <a:xfrm rot="16200000" flipH="1">
            <a:off x="1293214" y="3870951"/>
            <a:ext cx="1355936" cy="1048098"/>
          </a:xfrm>
          <a:prstGeom prst="bentConnector2">
            <a:avLst/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sp>
        <p:nvSpPr>
          <p:cNvPr id="30" name="Rectangle 29"/>
          <p:cNvSpPr>
            <a:spLocks noChangeArrowheads="1"/>
          </p:cNvSpPr>
          <p:nvPr/>
        </p:nvSpPr>
        <p:spPr bwMode="auto">
          <a:xfrm>
            <a:off x="2636574" y="3889631"/>
            <a:ext cx="1329552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algn="ctr" defTabSz="957998">
              <a:lnSpc>
                <a:spcPct val="106000"/>
              </a:lnSpc>
              <a:spcBef>
                <a:spcPts val="1344"/>
              </a:spcBef>
            </a:pPr>
            <a:r>
              <a:rPr lang="en-AU" sz="1600" dirty="0" err="1">
                <a:solidFill>
                  <a:prstClr val="black"/>
                </a:solidFill>
                <a:latin typeface="Arial"/>
              </a:rPr>
              <a:t>Tên</a:t>
            </a:r>
            <a:endParaRPr lang="en-AU" sz="1600" dirty="0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31" name="Elbow Connector 30"/>
          <p:cNvCxnSpPr>
            <a:cxnSpLocks/>
            <a:stCxn id="22" idx="0"/>
            <a:endCxn id="24" idx="2"/>
          </p:cNvCxnSpPr>
          <p:nvPr/>
        </p:nvCxnSpPr>
        <p:spPr>
          <a:xfrm rot="5400000" flipH="1" flipV="1">
            <a:off x="3432583" y="552870"/>
            <a:ext cx="571866" cy="4542766"/>
          </a:xfrm>
          <a:prstGeom prst="bentConnector3">
            <a:avLst/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cxnSp>
        <p:nvCxnSpPr>
          <p:cNvPr id="32" name="Elbow Connector 31"/>
          <p:cNvCxnSpPr>
            <a:cxnSpLocks/>
            <a:stCxn id="23" idx="0"/>
            <a:endCxn id="24" idx="2"/>
          </p:cNvCxnSpPr>
          <p:nvPr/>
        </p:nvCxnSpPr>
        <p:spPr>
          <a:xfrm rot="5400000" flipH="1" flipV="1">
            <a:off x="4984919" y="2104708"/>
            <a:ext cx="571367" cy="1438593"/>
          </a:xfrm>
          <a:prstGeom prst="bentConnector3">
            <a:avLst/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sp>
        <p:nvSpPr>
          <p:cNvPr id="33" name="Rectangle 32"/>
          <p:cNvSpPr>
            <a:spLocks noChangeArrowheads="1"/>
          </p:cNvSpPr>
          <p:nvPr/>
        </p:nvSpPr>
        <p:spPr bwMode="auto">
          <a:xfrm>
            <a:off x="2495231" y="4892968"/>
            <a:ext cx="1259072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en-US" sz="1600" dirty="0" err="1">
                <a:solidFill>
                  <a:prstClr val="black"/>
                </a:solidFill>
              </a:rPr>
              <a:t>Tuổi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49" name="Rectangle 48"/>
          <p:cNvSpPr>
            <a:spLocks noChangeArrowheads="1"/>
          </p:cNvSpPr>
          <p:nvPr/>
        </p:nvSpPr>
        <p:spPr bwMode="auto">
          <a:xfrm>
            <a:off x="4669458" y="5059985"/>
            <a:ext cx="1426542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defTabSz="957998">
              <a:lnSpc>
                <a:spcPct val="106000"/>
              </a:lnSpc>
              <a:spcBef>
                <a:spcPts val="1344"/>
              </a:spcBef>
            </a:pPr>
            <a:r>
              <a:rPr lang="en-AU" sz="1600" dirty="0" err="1">
                <a:solidFill>
                  <a:prstClr val="black"/>
                </a:solidFill>
                <a:latin typeface="Arial"/>
              </a:rPr>
              <a:t>Tôi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nhìn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thấy</a:t>
            </a:r>
            <a:endParaRPr lang="en-AU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0" name="Rectangle 49"/>
          <p:cNvSpPr>
            <a:spLocks noChangeArrowheads="1"/>
          </p:cNvSpPr>
          <p:nvPr/>
        </p:nvSpPr>
        <p:spPr bwMode="auto">
          <a:xfrm>
            <a:off x="4692131" y="5690122"/>
            <a:ext cx="1546623" cy="576024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defTabSz="957998">
              <a:lnSpc>
                <a:spcPct val="106000"/>
              </a:lnSpc>
              <a:spcBef>
                <a:spcPts val="1344"/>
              </a:spcBef>
            </a:pPr>
            <a:r>
              <a:rPr lang="en-AU" sz="1600" dirty="0" err="1">
                <a:solidFill>
                  <a:prstClr val="black"/>
                </a:solidFill>
                <a:latin typeface="Arial"/>
              </a:rPr>
              <a:t>Các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giác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quan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khác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(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quan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sát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)</a:t>
            </a:r>
          </a:p>
        </p:txBody>
      </p:sp>
      <p:sp>
        <p:nvSpPr>
          <p:cNvPr id="61" name="Text Box 10"/>
          <p:cNvSpPr txBox="1">
            <a:spLocks noChangeArrowheads="1"/>
          </p:cNvSpPr>
          <p:nvPr/>
        </p:nvSpPr>
        <p:spPr bwMode="auto">
          <a:xfrm>
            <a:off x="6384031" y="3110186"/>
            <a:ext cx="2237788" cy="813323"/>
          </a:xfrm>
          <a:prstGeom prst="rect">
            <a:avLst/>
          </a:prstGeom>
          <a:solidFill>
            <a:schemeClr val="tx2">
              <a:lumMod val="75000"/>
            </a:schemeClr>
          </a:solidFill>
          <a:ln w="12700" algn="ctr">
            <a:solidFill>
              <a:schemeClr val="accent1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defTabSz="957263"/>
            <a:r>
              <a:rPr lang="en-AU" sz="1600" b="1" dirty="0" err="1">
                <a:solidFill>
                  <a:prstClr val="white"/>
                </a:solidFill>
              </a:rPr>
              <a:t>Thông</a:t>
            </a:r>
            <a:r>
              <a:rPr lang="en-AU" sz="1600" b="1" dirty="0">
                <a:solidFill>
                  <a:prstClr val="white"/>
                </a:solidFill>
              </a:rPr>
              <a:t> tin </a:t>
            </a:r>
            <a:r>
              <a:rPr lang="en-AU" sz="1600" b="1" dirty="0" err="1">
                <a:solidFill>
                  <a:prstClr val="white"/>
                </a:solidFill>
              </a:rPr>
              <a:t>có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được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cung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cấp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theo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một</a:t>
            </a:r>
            <a:r>
              <a:rPr lang="en-AU" sz="1600" b="1" dirty="0">
                <a:solidFill>
                  <a:prstClr val="white"/>
                </a:solidFill>
              </a:rPr>
              <a:t> </a:t>
            </a:r>
            <a:r>
              <a:rPr lang="en-AU" sz="1600" b="1" dirty="0" err="1">
                <a:solidFill>
                  <a:prstClr val="white"/>
                </a:solidFill>
              </a:rPr>
              <a:t>cách</a:t>
            </a:r>
            <a:r>
              <a:rPr lang="en-AU" sz="1600" b="1" dirty="0">
                <a:solidFill>
                  <a:prstClr val="white"/>
                </a:solidFill>
              </a:rPr>
              <a:t> logic </a:t>
            </a:r>
            <a:r>
              <a:rPr lang="en-AU" sz="1600" b="1" dirty="0" err="1">
                <a:solidFill>
                  <a:prstClr val="white"/>
                </a:solidFill>
              </a:rPr>
              <a:t>không</a:t>
            </a:r>
            <a:r>
              <a:rPr lang="en-AU" sz="1600" b="1" dirty="0">
                <a:solidFill>
                  <a:prstClr val="white"/>
                </a:solidFill>
              </a:rPr>
              <a:t>?</a:t>
            </a:r>
          </a:p>
        </p:txBody>
      </p:sp>
      <p:sp>
        <p:nvSpPr>
          <p:cNvPr id="65" name="Rectangle 64"/>
          <p:cNvSpPr>
            <a:spLocks noChangeArrowheads="1"/>
          </p:cNvSpPr>
          <p:nvPr/>
        </p:nvSpPr>
        <p:spPr bwMode="auto">
          <a:xfrm>
            <a:off x="6694339" y="4699985"/>
            <a:ext cx="1542007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defTabSz="957998">
              <a:lnSpc>
                <a:spcPct val="106000"/>
              </a:lnSpc>
              <a:spcBef>
                <a:spcPts val="1344"/>
              </a:spcBef>
            </a:pPr>
            <a:r>
              <a:rPr lang="en-AU" sz="1600" dirty="0" err="1">
                <a:solidFill>
                  <a:prstClr val="black"/>
                </a:solidFill>
                <a:latin typeface="Arial"/>
              </a:rPr>
              <a:t>Sự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kiện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thứ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2</a:t>
            </a:r>
          </a:p>
        </p:txBody>
      </p:sp>
      <p:cxnSp>
        <p:nvCxnSpPr>
          <p:cNvPr id="66" name="AutoShape 17"/>
          <p:cNvCxnSpPr>
            <a:cxnSpLocks noChangeShapeType="1"/>
            <a:stCxn id="61" idx="2"/>
            <a:endCxn id="69" idx="1"/>
          </p:cNvCxnSpPr>
          <p:nvPr>
            <p:custDataLst>
              <p:tags r:id="rId5"/>
            </p:custDataLst>
          </p:nvPr>
        </p:nvCxnSpPr>
        <p:spPr bwMode="auto">
          <a:xfrm rot="5400000">
            <a:off x="6909432" y="3708416"/>
            <a:ext cx="378401" cy="808586"/>
          </a:xfrm>
          <a:prstGeom prst="bentConnector4">
            <a:avLst>
              <a:gd name="adj1" fmla="val 26216"/>
              <a:gd name="adj2" fmla="val 128272"/>
            </a:avLst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cxnSp>
        <p:nvCxnSpPr>
          <p:cNvPr id="67" name="AutoShape 18"/>
          <p:cNvCxnSpPr>
            <a:cxnSpLocks noChangeShapeType="1"/>
            <a:stCxn id="61" idx="2"/>
            <a:endCxn id="65" idx="1"/>
          </p:cNvCxnSpPr>
          <p:nvPr>
            <p:custDataLst>
              <p:tags r:id="rId6"/>
            </p:custDataLst>
          </p:nvPr>
        </p:nvCxnSpPr>
        <p:spPr bwMode="auto">
          <a:xfrm rot="5400000">
            <a:off x="6620394" y="3997454"/>
            <a:ext cx="956476" cy="808586"/>
          </a:xfrm>
          <a:prstGeom prst="bentConnector4">
            <a:avLst>
              <a:gd name="adj1" fmla="val 40590"/>
              <a:gd name="adj2" fmla="val 128272"/>
            </a:avLst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cxnSp>
        <p:nvCxnSpPr>
          <p:cNvPr id="68" name="AutoShape 18"/>
          <p:cNvCxnSpPr>
            <a:cxnSpLocks noChangeShapeType="1"/>
            <a:stCxn id="61" idx="2"/>
            <a:endCxn id="70" idx="1"/>
          </p:cNvCxnSpPr>
          <p:nvPr>
            <p:custDataLst>
              <p:tags r:id="rId7"/>
            </p:custDataLst>
          </p:nvPr>
        </p:nvCxnSpPr>
        <p:spPr bwMode="auto">
          <a:xfrm rot="5400000">
            <a:off x="6228851" y="4387133"/>
            <a:ext cx="1737699" cy="810451"/>
          </a:xfrm>
          <a:prstGeom prst="bentConnector4">
            <a:avLst>
              <a:gd name="adj1" fmla="val 44821"/>
              <a:gd name="adj2" fmla="val 128207"/>
            </a:avLst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sp>
        <p:nvSpPr>
          <p:cNvPr id="69" name="Rectangle 68"/>
          <p:cNvSpPr>
            <a:spLocks noChangeArrowheads="1"/>
          </p:cNvSpPr>
          <p:nvPr/>
        </p:nvSpPr>
        <p:spPr bwMode="auto">
          <a:xfrm>
            <a:off x="6694339" y="4121910"/>
            <a:ext cx="1485300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defTabSz="957998">
              <a:lnSpc>
                <a:spcPct val="106000"/>
              </a:lnSpc>
              <a:spcBef>
                <a:spcPts val="1344"/>
              </a:spcBef>
            </a:pPr>
            <a:r>
              <a:rPr lang="en-AU" sz="1600" dirty="0" err="1">
                <a:solidFill>
                  <a:prstClr val="black"/>
                </a:solidFill>
                <a:latin typeface="Arial"/>
              </a:rPr>
              <a:t>Sự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kiện</a:t>
            </a:r>
            <a:r>
              <a:rPr lang="en-AU" sz="1600" dirty="0">
                <a:solidFill>
                  <a:prstClr val="black"/>
                </a:solidFill>
                <a:latin typeface="Arial"/>
              </a:rPr>
              <a:t> </a:t>
            </a:r>
            <a:r>
              <a:rPr lang="en-AU" sz="1600" dirty="0" err="1">
                <a:solidFill>
                  <a:prstClr val="black"/>
                </a:solidFill>
                <a:latin typeface="Arial"/>
              </a:rPr>
              <a:t>đầu</a:t>
            </a:r>
            <a:endParaRPr lang="en-AU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70" name="Rectangle 69"/>
          <p:cNvSpPr>
            <a:spLocks noChangeArrowheads="1"/>
          </p:cNvSpPr>
          <p:nvPr/>
        </p:nvSpPr>
        <p:spPr bwMode="auto">
          <a:xfrm>
            <a:off x="6692474" y="5481208"/>
            <a:ext cx="1542007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en-US" sz="1600" dirty="0" err="1">
                <a:solidFill>
                  <a:prstClr val="black"/>
                </a:solidFill>
              </a:rPr>
              <a:t>Sự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en-US" sz="1600" dirty="0" err="1">
                <a:solidFill>
                  <a:prstClr val="black"/>
                </a:solidFill>
              </a:rPr>
              <a:t>kiện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en-US" sz="1600" dirty="0" err="1">
                <a:solidFill>
                  <a:prstClr val="black"/>
                </a:solidFill>
              </a:rPr>
              <a:t>thứ</a:t>
            </a:r>
            <a:r>
              <a:rPr lang="en-US" sz="1600" dirty="0">
                <a:solidFill>
                  <a:prstClr val="black"/>
                </a:solidFill>
              </a:rPr>
              <a:t> 3</a:t>
            </a:r>
          </a:p>
        </p:txBody>
      </p:sp>
      <p:sp>
        <p:nvSpPr>
          <p:cNvPr id="73" name="Text Box 10"/>
          <p:cNvSpPr txBox="1">
            <a:spLocks noChangeArrowheads="1"/>
          </p:cNvSpPr>
          <p:nvPr/>
        </p:nvSpPr>
        <p:spPr bwMode="auto">
          <a:xfrm>
            <a:off x="9298532" y="3110496"/>
            <a:ext cx="2692604" cy="23402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algn="ctr">
            <a:solidFill>
              <a:schemeClr val="accent1"/>
            </a:solidFill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defTabSz="957263"/>
            <a:r>
              <a:rPr lang="en-AU" sz="2000" b="1" dirty="0" err="1"/>
              <a:t>Lưu</a:t>
            </a:r>
            <a:r>
              <a:rPr lang="en-AU" sz="2000" b="1" dirty="0"/>
              <a:t> </a:t>
            </a:r>
            <a:r>
              <a:rPr lang="en-AU" sz="2000" b="1" dirty="0" err="1"/>
              <a:t>ý</a:t>
            </a:r>
            <a:r>
              <a:rPr lang="en-AU" sz="2000" b="1" dirty="0"/>
              <a:t> </a:t>
            </a:r>
            <a:r>
              <a:rPr lang="en-AU" sz="2000" b="1" dirty="0" err="1"/>
              <a:t>là</a:t>
            </a:r>
            <a:r>
              <a:rPr lang="en-AU" sz="2000" b="1" dirty="0"/>
              <a:t> </a:t>
            </a:r>
            <a:r>
              <a:rPr lang="en-AU" sz="2000" b="1" dirty="0" err="1"/>
              <a:t>không</a:t>
            </a:r>
            <a:r>
              <a:rPr lang="en-AU" sz="2000" b="1" dirty="0"/>
              <a:t> </a:t>
            </a:r>
            <a:r>
              <a:rPr lang="en-AU" sz="2000" b="1" dirty="0" err="1"/>
              <a:t>đưa</a:t>
            </a:r>
            <a:r>
              <a:rPr lang="en-AU" sz="2000" b="1" dirty="0"/>
              <a:t> </a:t>
            </a:r>
            <a:r>
              <a:rPr lang="en-AU" sz="2000" b="1" dirty="0" err="1"/>
              <a:t>thêm</a:t>
            </a:r>
            <a:r>
              <a:rPr lang="en-AU" sz="2000" b="1" dirty="0"/>
              <a:t> </a:t>
            </a:r>
            <a:r>
              <a:rPr lang="en-AU" sz="2000" b="1" dirty="0" err="1"/>
              <a:t>quan</a:t>
            </a:r>
            <a:r>
              <a:rPr lang="en-AU" sz="2000" b="1" dirty="0"/>
              <a:t> </a:t>
            </a:r>
            <a:r>
              <a:rPr lang="en-AU" sz="2000" b="1" dirty="0" err="1"/>
              <a:t>điểm</a:t>
            </a:r>
            <a:r>
              <a:rPr lang="en-AU" sz="2000" b="1" dirty="0"/>
              <a:t> </a:t>
            </a:r>
            <a:r>
              <a:rPr lang="en-AU" sz="2000" b="1" dirty="0" err="1"/>
              <a:t>cá</a:t>
            </a:r>
            <a:r>
              <a:rPr lang="en-AU" sz="2000" b="1" dirty="0"/>
              <a:t> </a:t>
            </a:r>
            <a:r>
              <a:rPr lang="en-AU" sz="2000" b="1" dirty="0" err="1"/>
              <a:t>nhân</a:t>
            </a:r>
            <a:r>
              <a:rPr lang="en-AU" sz="2000" b="1" dirty="0"/>
              <a:t> </a:t>
            </a:r>
            <a:r>
              <a:rPr lang="en-AU" sz="2000" b="1" dirty="0" err="1"/>
              <a:t>đối</a:t>
            </a:r>
            <a:r>
              <a:rPr lang="en-AU" sz="2000" b="1" dirty="0"/>
              <a:t> </a:t>
            </a:r>
            <a:r>
              <a:rPr lang="en-AU" sz="2000" b="1" dirty="0" err="1"/>
              <a:t>với</a:t>
            </a:r>
            <a:r>
              <a:rPr lang="en-AU" sz="2000" b="1" dirty="0"/>
              <a:t> </a:t>
            </a:r>
            <a:r>
              <a:rPr lang="en-AU" sz="2000" b="1" dirty="0" err="1"/>
              <a:t>những</a:t>
            </a:r>
            <a:r>
              <a:rPr lang="en-AU" sz="2000" b="1" dirty="0"/>
              <a:t> </a:t>
            </a:r>
            <a:r>
              <a:rPr lang="en-AU" sz="2000" b="1" dirty="0" err="1"/>
              <a:t>người</a:t>
            </a:r>
            <a:r>
              <a:rPr lang="en-AU" sz="2000" b="1" dirty="0"/>
              <a:t> </a:t>
            </a:r>
            <a:r>
              <a:rPr lang="en-AU" sz="2000" b="1" dirty="0" err="1"/>
              <a:t>liên</a:t>
            </a:r>
            <a:r>
              <a:rPr lang="en-AU" sz="2000" b="1" dirty="0"/>
              <a:t> </a:t>
            </a:r>
            <a:r>
              <a:rPr lang="en-AU" sz="2000" b="1" dirty="0" err="1"/>
              <a:t>quan</a:t>
            </a:r>
            <a:r>
              <a:rPr lang="en-AU" sz="2000" b="1" dirty="0"/>
              <a:t>. Vi </a:t>
            </a:r>
            <a:r>
              <a:rPr lang="en-AU" sz="2000" b="1" dirty="0" err="1"/>
              <a:t>dụ</a:t>
            </a:r>
            <a:r>
              <a:rPr lang="en-AU" sz="2000" b="1" dirty="0"/>
              <a:t> “</a:t>
            </a:r>
            <a:r>
              <a:rPr lang="en-AU" sz="2000" b="1" dirty="0" err="1"/>
              <a:t>Tôi</a:t>
            </a:r>
            <a:r>
              <a:rPr lang="en-AU" sz="2000" b="1" dirty="0"/>
              <a:t> </a:t>
            </a:r>
            <a:r>
              <a:rPr lang="en-AU" sz="2000" b="1" dirty="0" err="1"/>
              <a:t>biết</a:t>
            </a:r>
            <a:r>
              <a:rPr lang="en-AU" sz="2000" b="1" dirty="0"/>
              <a:t> </a:t>
            </a:r>
            <a:r>
              <a:rPr lang="en-AU" sz="2000" b="1" dirty="0" err="1"/>
              <a:t>người</a:t>
            </a:r>
            <a:r>
              <a:rPr lang="en-AU" sz="2000" b="1" dirty="0"/>
              <a:t> </a:t>
            </a:r>
            <a:r>
              <a:rPr lang="en-AU" sz="2000" b="1" dirty="0" err="1"/>
              <a:t>mẹ</a:t>
            </a:r>
            <a:r>
              <a:rPr lang="en-AU" sz="2000" b="1" dirty="0"/>
              <a:t> </a:t>
            </a:r>
            <a:r>
              <a:rPr lang="en-AU" sz="2000" b="1" dirty="0" err="1"/>
              <a:t>và</a:t>
            </a:r>
            <a:r>
              <a:rPr lang="en-AU" sz="2000" b="1" dirty="0"/>
              <a:t> </a:t>
            </a:r>
            <a:r>
              <a:rPr lang="en-AU" sz="2000" b="1" dirty="0" err="1"/>
              <a:t>tôi</a:t>
            </a:r>
            <a:r>
              <a:rPr lang="en-AU" sz="2000" b="1" dirty="0"/>
              <a:t> </a:t>
            </a:r>
            <a:r>
              <a:rPr lang="en-AU" sz="2000" b="1" dirty="0" err="1"/>
              <a:t>có</a:t>
            </a:r>
            <a:r>
              <a:rPr lang="en-AU" sz="2000" b="1" dirty="0"/>
              <a:t> </a:t>
            </a:r>
            <a:r>
              <a:rPr lang="en-AU" sz="2000" b="1" dirty="0" err="1"/>
              <a:t>thể</a:t>
            </a:r>
            <a:r>
              <a:rPr lang="en-AU" sz="2000" b="1" dirty="0"/>
              <a:t> </a:t>
            </a:r>
            <a:r>
              <a:rPr lang="en-AU" sz="2000" b="1" dirty="0" err="1"/>
              <a:t>nói</a:t>
            </a:r>
            <a:r>
              <a:rPr lang="en-AU" sz="2000" b="1" dirty="0"/>
              <a:t> </a:t>
            </a:r>
            <a:r>
              <a:rPr lang="en-AU" sz="2000" b="1" dirty="0" err="1"/>
              <a:t>rằng</a:t>
            </a:r>
            <a:r>
              <a:rPr lang="en-AU" sz="2000" b="1" dirty="0"/>
              <a:t> </a:t>
            </a:r>
            <a:r>
              <a:rPr lang="en-AU" sz="2000" b="1" dirty="0" err="1"/>
              <a:t>cô</a:t>
            </a:r>
            <a:r>
              <a:rPr lang="en-AU" sz="2000" b="1" dirty="0"/>
              <a:t> </a:t>
            </a:r>
            <a:r>
              <a:rPr lang="en-AU" sz="2000" b="1" dirty="0" err="1"/>
              <a:t>ấy</a:t>
            </a:r>
            <a:r>
              <a:rPr lang="en-AU" sz="2000" b="1" dirty="0"/>
              <a:t> </a:t>
            </a:r>
            <a:r>
              <a:rPr lang="en-AU" sz="2000" b="1" dirty="0" err="1"/>
              <a:t>không</a:t>
            </a:r>
            <a:r>
              <a:rPr lang="en-AU" sz="2000" b="1" dirty="0"/>
              <a:t> </a:t>
            </a:r>
            <a:r>
              <a:rPr lang="en-AU" sz="2000" b="1" dirty="0" err="1"/>
              <a:t>phải</a:t>
            </a:r>
            <a:r>
              <a:rPr lang="en-AU" sz="2000" b="1" dirty="0"/>
              <a:t> </a:t>
            </a:r>
            <a:r>
              <a:rPr lang="en-AU" sz="2000" b="1" dirty="0" err="1"/>
              <a:t>là</a:t>
            </a:r>
            <a:r>
              <a:rPr lang="en-AU" sz="2000" b="1" dirty="0"/>
              <a:t> </a:t>
            </a:r>
            <a:r>
              <a:rPr lang="en-AU" sz="2000" b="1" dirty="0" err="1"/>
              <a:t>người</a:t>
            </a:r>
            <a:r>
              <a:rPr lang="en-AU" sz="2000" b="1" dirty="0"/>
              <a:t> </a:t>
            </a:r>
            <a:r>
              <a:rPr lang="en-AU" sz="2000" b="1" dirty="0" err="1"/>
              <a:t>mẹ</a:t>
            </a:r>
            <a:r>
              <a:rPr lang="en-AU" sz="2000" b="1" dirty="0"/>
              <a:t> </a:t>
            </a:r>
            <a:r>
              <a:rPr lang="en-AU" sz="2000" b="1" dirty="0" err="1"/>
              <a:t>tốt</a:t>
            </a:r>
            <a:r>
              <a:rPr lang="en-AU" sz="2000" b="1" dirty="0"/>
              <a:t>”</a:t>
            </a:r>
          </a:p>
        </p:txBody>
      </p:sp>
      <p:cxnSp>
        <p:nvCxnSpPr>
          <p:cNvPr id="82" name="Elbow Connector 81"/>
          <p:cNvCxnSpPr>
            <a:cxnSpLocks/>
            <a:stCxn id="61" idx="0"/>
            <a:endCxn id="24" idx="2"/>
          </p:cNvCxnSpPr>
          <p:nvPr/>
        </p:nvCxnSpPr>
        <p:spPr>
          <a:xfrm rot="16200000" flipV="1">
            <a:off x="6460479" y="2067740"/>
            <a:ext cx="571866" cy="1513026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cxnSp>
        <p:nvCxnSpPr>
          <p:cNvPr id="83" name="Elbow Connector 82"/>
          <p:cNvCxnSpPr>
            <a:cxnSpLocks/>
            <a:stCxn id="73" idx="0"/>
            <a:endCxn id="24" idx="2"/>
          </p:cNvCxnSpPr>
          <p:nvPr/>
        </p:nvCxnSpPr>
        <p:spPr>
          <a:xfrm rot="16200000" flipV="1">
            <a:off x="8031279" y="496940"/>
            <a:ext cx="572176" cy="4654935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1019D060-34A3-0448-AC90-52817542F0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9444" y="5412583"/>
            <a:ext cx="1259072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en-US" sz="1600" dirty="0" err="1">
                <a:solidFill>
                  <a:prstClr val="black"/>
                </a:solidFill>
              </a:rPr>
              <a:t>Địa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en-US" sz="1600" dirty="0" err="1">
                <a:solidFill>
                  <a:prstClr val="black"/>
                </a:solidFill>
              </a:rPr>
              <a:t>chỉ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CB58A9D-0908-DD47-8526-FBC6A73145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2233" y="5909601"/>
            <a:ext cx="1259072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en-US" sz="1600" dirty="0" err="1">
                <a:solidFill>
                  <a:prstClr val="black"/>
                </a:solidFill>
              </a:rPr>
              <a:t>Chấn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en-US" sz="1600" dirty="0" err="1">
                <a:solidFill>
                  <a:prstClr val="black"/>
                </a:solidFill>
              </a:rPr>
              <a:t>thương</a:t>
            </a:r>
            <a:endParaRPr lang="en-US" sz="1600" dirty="0">
              <a:solidFill>
                <a:prstClr val="black"/>
              </a:solidFill>
            </a:endParaRPr>
          </a:p>
        </p:txBody>
      </p:sp>
      <p:cxnSp>
        <p:nvCxnSpPr>
          <p:cNvPr id="53" name="AutoShape 18">
            <a:extLst>
              <a:ext uri="{FF2B5EF4-FFF2-40B4-BE49-F238E27FC236}">
                <a16:creationId xmlns:a16="http://schemas.microsoft.com/office/drawing/2014/main" id="{79F8A880-70E7-2F43-9214-2CBBAFF9093A}"/>
              </a:ext>
            </a:extLst>
          </p:cNvPr>
          <p:cNvCxnSpPr>
            <a:cxnSpLocks noChangeShapeType="1"/>
          </p:cNvCxnSpPr>
          <p:nvPr>
            <p:custDataLst>
              <p:tags r:id="rId8"/>
            </p:custDataLst>
          </p:nvPr>
        </p:nvCxnSpPr>
        <p:spPr bwMode="auto">
          <a:xfrm rot="16200000" flipH="1">
            <a:off x="1210450" y="4659480"/>
            <a:ext cx="1553704" cy="1081979"/>
          </a:xfrm>
          <a:prstGeom prst="bentConnector2">
            <a:avLst/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cxnSp>
        <p:nvCxnSpPr>
          <p:cNvPr id="54" name="AutoShape 18">
            <a:extLst>
              <a:ext uri="{FF2B5EF4-FFF2-40B4-BE49-F238E27FC236}">
                <a16:creationId xmlns:a16="http://schemas.microsoft.com/office/drawing/2014/main" id="{8618E883-12FB-3D4E-A362-EC545C4422A9}"/>
              </a:ext>
            </a:extLst>
          </p:cNvPr>
          <p:cNvCxnSpPr>
            <a:cxnSpLocks noChangeShapeType="1"/>
          </p:cNvCxnSpPr>
          <p:nvPr>
            <p:custDataLst>
              <p:tags r:id="rId9"/>
            </p:custDataLst>
          </p:nvPr>
        </p:nvCxnSpPr>
        <p:spPr bwMode="auto">
          <a:xfrm rot="16200000" flipH="1">
            <a:off x="1185399" y="5295848"/>
            <a:ext cx="1553704" cy="1081979"/>
          </a:xfrm>
          <a:prstGeom prst="bentConnector2">
            <a:avLst/>
          </a:prstGeom>
          <a:noFill/>
          <a:ln w="12700">
            <a:solidFill>
              <a:schemeClr val="accent1"/>
            </a:solidFill>
            <a:miter lim="800000"/>
            <a:headEnd type="none" w="sm" len="sm"/>
            <a:tailEnd type="none" w="med" len="lg"/>
          </a:ln>
        </p:spPr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C98E8204-FF6C-CF4B-8C85-52B079455D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2232" y="6406619"/>
            <a:ext cx="1510481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en-US" sz="1600" dirty="0" err="1">
                <a:solidFill>
                  <a:prstClr val="black"/>
                </a:solidFill>
              </a:rPr>
              <a:t>Thủ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en-US" sz="1600" dirty="0" err="1">
                <a:solidFill>
                  <a:prstClr val="black"/>
                </a:solidFill>
              </a:rPr>
              <a:t>phạm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en-US" sz="1600" dirty="0" err="1">
                <a:solidFill>
                  <a:prstClr val="black"/>
                </a:solidFill>
              </a:rPr>
              <a:t>nghi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en-US" sz="1600" dirty="0" err="1">
                <a:solidFill>
                  <a:prstClr val="black"/>
                </a:solidFill>
              </a:rPr>
              <a:t>ngờ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F8395B65-FF14-4945-AA1B-2DE960D314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239" y="6406619"/>
            <a:ext cx="1510481" cy="360000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r>
              <a:rPr lang="en-US" sz="1600" dirty="0" err="1">
                <a:solidFill>
                  <a:prstClr val="black"/>
                </a:solidFill>
              </a:rPr>
              <a:t>Người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en-US" sz="1600" dirty="0" err="1">
                <a:solidFill>
                  <a:prstClr val="black"/>
                </a:solidFill>
              </a:rPr>
              <a:t>bảo</a:t>
            </a:r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en-US" sz="1600" dirty="0" err="1">
                <a:solidFill>
                  <a:prstClr val="black"/>
                </a:solidFill>
              </a:rPr>
              <a:t>vệ</a:t>
            </a:r>
            <a:endParaRPr lang="en-US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96301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ỗ dành sẵn cho Nội dung 4">
            <a:extLst>
              <a:ext uri="{FF2B5EF4-FFF2-40B4-BE49-F238E27FC236}">
                <a16:creationId xmlns:a16="http://schemas.microsoft.com/office/drawing/2014/main" id="{B54918AB-019A-43D8-8BCB-57EBA7717D7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25448901"/>
              </p:ext>
            </p:extLst>
          </p:nvPr>
        </p:nvGraphicFramePr>
        <p:xfrm>
          <a:off x="0" y="1"/>
          <a:ext cx="12192000" cy="67623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44171622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1200" y="152719"/>
            <a:ext cx="8501749" cy="563607"/>
          </a:xfrm>
        </p:spPr>
        <p:txBody>
          <a:bodyPr>
            <a:normAutofit fontScale="90000"/>
          </a:bodyPr>
          <a:lstStyle/>
          <a:p>
            <a:r>
              <a:rPr lang="en-US" dirty="0" err="1">
                <a:latin typeface="Times New Roman" pitchFamily="18" charset="0"/>
                <a:cs typeface="Times New Roman" pitchFamily="18" charset="0"/>
              </a:rPr>
              <a:t>Tố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sự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Ví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dirty="0" err="1">
                <a:latin typeface="Times New Roman" pitchFamily="18" charset="0"/>
                <a:cs typeface="Times New Roman" pitchFamily="18" charset="0"/>
              </a:rPr>
              <a:t>dụ</a:t>
            </a:r>
            <a:endParaRPr lang="en-A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AU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92597" y="895408"/>
          <a:ext cx="12099403" cy="6443970"/>
        </p:xfrm>
        <a:graphic>
          <a:graphicData uri="http://schemas.openxmlformats.org/drawingml/2006/table">
            <a:tbl>
              <a:tblPr firstRow="1" bandRow="1">
                <a:effectLst/>
                <a:tableStyleId>{35758FB7-9AC5-4552-8A53-C91805E547FA}</a:tableStyleId>
              </a:tblPr>
              <a:tblGrid>
                <a:gridCol w="7176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561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502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8754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07427"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H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Ai </a:t>
                      </a:r>
                      <a:r>
                        <a:rPr lang="en-US" sz="1800" b="1" dirty="0" err="1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liên</a:t>
                      </a:r>
                      <a:r>
                        <a:rPr lang="en-US" sz="1800" b="1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quan</a:t>
                      </a:r>
                      <a:endParaRPr lang="en-US" sz="1800" b="1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err="1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ôi</a:t>
                      </a:r>
                      <a:r>
                        <a:rPr lang="en-US" sz="1800" b="1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biết</a:t>
                      </a:r>
                      <a:r>
                        <a:rPr lang="en-US" sz="1800" b="1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ừ</a:t>
                      </a:r>
                      <a:r>
                        <a:rPr lang="en-US" sz="1800" b="1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đâu</a:t>
                      </a:r>
                      <a:endParaRPr lang="en-US" sz="1800" b="1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1" dirty="0" err="1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iến</a:t>
                      </a:r>
                      <a:r>
                        <a:rPr lang="en-US" sz="1800" b="1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rình</a:t>
                      </a:r>
                      <a:r>
                        <a:rPr lang="en-US" sz="1800" b="1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logic </a:t>
                      </a:r>
                      <a:r>
                        <a:rPr lang="en-US" sz="1800" b="1" dirty="0" err="1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của</a:t>
                      </a:r>
                      <a:r>
                        <a:rPr lang="en-US" sz="1800" b="1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sự</a:t>
                      </a:r>
                      <a:r>
                        <a:rPr lang="en-US" sz="1800" b="1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b="1" dirty="0" err="1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việc</a:t>
                      </a:r>
                      <a:endParaRPr lang="en-US" sz="1800" b="1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27583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endParaRPr lang="en-US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hữ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ác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ở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ường</a:t>
                      </a:r>
                      <a:endParaRPr lang="en-US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Anh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a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Peter</a:t>
                      </a:r>
                    </a:p>
                    <a:p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ố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Peter</a:t>
                      </a:r>
                    </a:p>
                    <a:p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Mẹ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Peter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Peter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ớ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ôi</a:t>
                      </a:r>
                      <a:endParaRPr lang="en-US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ật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óc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hú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ô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đa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ườ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học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ghét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ớ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ườ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ạn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è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hữ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đứa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ác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đánh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lấ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đồ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ủa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endParaRPr lang="en-US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ảo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mẹ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ở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ì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muốn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làm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mẹ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óc</a:t>
                      </a:r>
                      <a:endParaRPr lang="en-US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rằ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â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giờ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ở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hà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uồn</a:t>
                      </a:r>
                      <a:endParaRPr lang="en-US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ảo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u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ở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ườ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ừ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ố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ỏ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đ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ào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đú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dịp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sinh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hật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(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ách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đâ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2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há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em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a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đánh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ha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hườ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xuyên</a:t>
                      </a:r>
                      <a:endParaRPr lang="en-US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Sau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đó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hì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huyện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ữa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ũ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hư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phản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ứ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gì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ô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uyến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ích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ể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iếp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rồ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hạ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đi</a:t>
                      </a:r>
                      <a:endParaRPr lang="en-US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27583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endParaRPr lang="en-US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liên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quan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ớ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ai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ác</a:t>
                      </a:r>
                      <a:endParaRPr lang="en-US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hữ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ác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hỉ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ào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ết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ầm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ím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ết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xước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hú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ở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ã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iển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điề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đó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làm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ô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hú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ý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</a:p>
                    <a:p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ết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ầm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ím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ằ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ích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hước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á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hu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hiệ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mà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đỏ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xanh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  <a:p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ết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xước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má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da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xu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quanh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mà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đỏ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huẩn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ị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ở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đồ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xuố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iển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ắm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ù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ớ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hữ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ác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Một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à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đứa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gọ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ô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ảo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hìn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ào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lư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ô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quan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sát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hấ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hữ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ết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ầm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ím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lớn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ên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lư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một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à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ết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hươ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dà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oả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4cm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đa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liền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phía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dướ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lư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ô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hỏ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, “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huyện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gì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xả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ra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ớ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lư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con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ậ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?”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ảo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“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”.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Rồ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ậu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hạy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đ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ớ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hỗ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hữ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khác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ách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xa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ô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trong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cả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buổ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dã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1800" dirty="0" err="1">
                          <a:latin typeface="Times New Roman" pitchFamily="18" charset="0"/>
                          <a:cs typeface="Times New Roman" pitchFamily="18" charset="0"/>
                        </a:rPr>
                        <a:t>ngoại</a:t>
                      </a:r>
                      <a:r>
                        <a:rPr lang="en-US" sz="1800" dirty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1089637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Number Placeholder 3">
            <a:extLst>
              <a:ext uri="{FF2B5EF4-FFF2-40B4-BE49-F238E27FC236}">
                <a16:creationId xmlns:a16="http://schemas.microsoft.com/office/drawing/2014/main" id="{42FA99F7-EA95-4859-81AA-D9091B45452A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10514011" y="6354825"/>
            <a:ext cx="764215" cy="365125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105000"/>
              </a:lnSpc>
              <a:spcBef>
                <a:spcPts val="1000"/>
              </a:spcBef>
              <a:buChar char="•"/>
              <a:defRPr sz="1500">
                <a:solidFill>
                  <a:srgbClr val="3B3B37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105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―"/>
              <a:defRPr sz="1500">
                <a:solidFill>
                  <a:srgbClr val="3B3B37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105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500">
                <a:solidFill>
                  <a:srgbClr val="3B3B37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105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3B3B37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105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3B3B3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105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3B3B3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105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3B3B3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105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3B3B3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105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400">
                <a:solidFill>
                  <a:srgbClr val="3B3B37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600"/>
              </a:spcAft>
              <a:buFontTx/>
              <a:buNone/>
            </a:pPr>
            <a:fld id="{A501F699-3AEA-4FFE-9CE8-BCA49431ED24}" type="slidenum">
              <a:rPr lang="en-US" altLang="en-US" sz="1000">
                <a:solidFill>
                  <a:schemeClr val="tx1"/>
                </a:solidFill>
                <a:latin typeface="+mn-lt"/>
              </a:rPr>
              <a:pPr>
                <a:spcBef>
                  <a:spcPct val="0"/>
                </a:spcBef>
                <a:spcAft>
                  <a:spcPts val="600"/>
                </a:spcAft>
                <a:buFontTx/>
                <a:buNone/>
              </a:pPr>
              <a:t>81</a:t>
            </a:fld>
            <a:endParaRPr lang="en-US" altLang="en-US" sz="100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6BF48C2-EEBD-499B-A87C-D75641A6F164}"/>
              </a:ext>
            </a:extLst>
          </p:cNvPr>
          <p:cNvPicPr>
            <a:picLocks noGrp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8" y="-1"/>
            <a:ext cx="12189392" cy="5582397"/>
          </a:xfrm>
          <a:prstGeom prst="roundRect">
            <a:avLst>
              <a:gd name="adj" fmla="val 5301"/>
            </a:avLst>
          </a:prstGeom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30721" name="Title 1">
            <a:extLst>
              <a:ext uri="{FF2B5EF4-FFF2-40B4-BE49-F238E27FC236}">
                <a16:creationId xmlns:a16="http://schemas.microsoft.com/office/drawing/2014/main" id="{51165BA5-17E9-4A97-9AA7-2D5BFBCFE1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210" y="5720446"/>
            <a:ext cx="10916365" cy="1137554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en-US" sz="30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Quy</a:t>
            </a:r>
            <a:r>
              <a:rPr lang="en-US" altLang="en-US" sz="3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trình</a:t>
            </a:r>
            <a:r>
              <a:rPr lang="en-US" altLang="en-US" sz="3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xử</a:t>
            </a:r>
            <a:r>
              <a:rPr lang="en-US" altLang="en-US" sz="3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lý</a:t>
            </a:r>
            <a:r>
              <a:rPr lang="en-US" altLang="en-US" sz="3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chính</a:t>
            </a:r>
            <a:r>
              <a:rPr lang="en-US" altLang="en-US" sz="3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thức</a:t>
            </a:r>
            <a:r>
              <a:rPr lang="en-US" altLang="en-US" sz="3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US" altLang="en-US" sz="3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US" altLang="en-US" sz="3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báo</a:t>
            </a:r>
            <a:r>
              <a:rPr lang="en-US" altLang="en-US" sz="3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US" altLang="en-US" sz="3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ca </a:t>
            </a:r>
            <a:r>
              <a:rPr lang="en-US" altLang="en-US" sz="30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bạo</a:t>
            </a:r>
            <a:r>
              <a:rPr lang="en-US" altLang="en-US" sz="3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lực</a:t>
            </a:r>
            <a:r>
              <a:rPr lang="en-US" altLang="en-US" sz="3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/</a:t>
            </a:r>
            <a:r>
              <a:rPr lang="en-US" altLang="en-US" sz="30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US" altLang="en-US" sz="3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3000" b="1" dirty="0" err="1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hại</a:t>
            </a:r>
            <a:endParaRPr lang="en-US" altLang="en-US" sz="30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72" y="152718"/>
            <a:ext cx="11887200" cy="368143"/>
          </a:xfrm>
        </p:spPr>
        <p:txBody>
          <a:bodyPr>
            <a:normAutofit fontScale="90000"/>
          </a:bodyPr>
          <a:lstStyle/>
          <a:p>
            <a:pPr algn="ctr"/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Gh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hép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Ví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dụ</a:t>
            </a:r>
            <a:endParaRPr lang="en-AU" sz="3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6060646"/>
              </p:ext>
            </p:extLst>
          </p:nvPr>
        </p:nvGraphicFramePr>
        <p:xfrm>
          <a:off x="104172" y="782881"/>
          <a:ext cx="11887200" cy="6075119"/>
        </p:xfrm>
        <a:graphic>
          <a:graphicData uri="http://schemas.openxmlformats.org/drawingml/2006/table">
            <a:tbl>
              <a:tblPr firstRow="1" bandRow="1">
                <a:effectLst/>
                <a:tableStyleId>{35758FB7-9AC5-4552-8A53-C91805E547FA}</a:tableStyleId>
              </a:tblPr>
              <a:tblGrid>
                <a:gridCol w="36897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974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41911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Ai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iếp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nhận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ố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cáo</a:t>
                      </a:r>
                      <a:endParaRPr lang="en-US" sz="20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Cán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bộ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BVTE (</a:t>
                      </a:r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tên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</a:p>
                  </a:txBody>
                  <a:tcPr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1459">
                <a:tc>
                  <a:txBody>
                    <a:bodyPr/>
                    <a:lstStyle/>
                    <a:p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ố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áo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ược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iếp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hậ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ào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ờ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iểm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ào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?</a:t>
                      </a:r>
                    </a:p>
                  </a:txBody>
                  <a:tcP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r>
                        <a:rPr lang="en-US" sz="2000" baseline="30000" dirty="0">
                          <a:latin typeface="Times New Roman" pitchFamily="18" charset="0"/>
                          <a:cs typeface="Times New Roman" pitchFamily="18" charset="0"/>
                        </a:rPr>
                        <a:t>rd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á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1, 2020</a:t>
                      </a:r>
                    </a:p>
                    <a:p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5.10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hiều</a:t>
                      </a:r>
                      <a:endParaRPr lang="en-US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31208">
                <a:tc>
                  <a:txBody>
                    <a:bodyPr/>
                    <a:lstStyle/>
                    <a:p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Mô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ả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eo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ứ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ự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tin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ề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sự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iệc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ã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xả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ra</a:t>
                      </a:r>
                    </a:p>
                  </a:txBody>
                  <a:tcP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(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ê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) (9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uổ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)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gồ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ạnh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ô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lúc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ă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rưa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ô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bảo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ô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rất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ích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ồ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ă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mà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bạ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ho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ô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ở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rườ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, “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bở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ì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ở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hà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ủ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ồ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ă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”.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ô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hỏ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“con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kể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êm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ược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?”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ô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“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à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huyệ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ã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xả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ra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ở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hà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”.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ô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gì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ữa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hờ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ô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êm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. Sau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ó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ô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“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háu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ê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ho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ai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iệc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à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”.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ô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“con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ó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ể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ếu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con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muố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”.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ô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ấ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ó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”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”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à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quay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ô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cũ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k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hỏ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êm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gì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ữa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78461">
                <a:tc>
                  <a:txBody>
                    <a:bodyPr/>
                    <a:lstStyle/>
                    <a:p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hữ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ai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liên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quan</a:t>
                      </a:r>
                      <a:endParaRPr lang="en-US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rẻ</a:t>
                      </a:r>
                      <a:endParaRPr lang="en-US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ôi</a:t>
                      </a:r>
                      <a:endParaRPr lang="en-US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9940">
                <a:tc>
                  <a:txBody>
                    <a:bodyPr/>
                    <a:lstStyle/>
                    <a:p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hữ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hành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ộ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ào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ã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ược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ực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hiện</a:t>
                      </a:r>
                      <a:endParaRPr lang="en-US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ô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ã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báo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với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CB BVTE</a:t>
                      </a:r>
                    </a:p>
                  </a:txBody>
                  <a:tcPr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89940">
                <a:tc>
                  <a:txBody>
                    <a:bodyPr/>
                    <a:lstStyle/>
                    <a:p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Ngày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mà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CB BVTE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được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ô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báo</a:t>
                      </a:r>
                      <a:endParaRPr lang="en-US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FFC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23</a:t>
                      </a:r>
                      <a:r>
                        <a:rPr lang="en-US" sz="2000" baseline="30000" dirty="0">
                          <a:latin typeface="Times New Roman" pitchFamily="18" charset="0"/>
                          <a:cs typeface="Times New Roman" pitchFamily="18" charset="0"/>
                        </a:rPr>
                        <a:t>rd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en-US" sz="2000" dirty="0" err="1">
                          <a:latin typeface="Times New Roman" pitchFamily="18" charset="0"/>
                          <a:cs typeface="Times New Roman" pitchFamily="18" charset="0"/>
                        </a:rPr>
                        <a:t>Tháng</a:t>
                      </a:r>
                      <a:r>
                        <a:rPr lang="en-US" sz="2000" dirty="0">
                          <a:latin typeface="Times New Roman" pitchFamily="18" charset="0"/>
                          <a:cs typeface="Times New Roman" pitchFamily="18" charset="0"/>
                        </a:rPr>
                        <a:t> 1, 2020</a:t>
                      </a:r>
                    </a:p>
                  </a:txBody>
                  <a:tcPr>
                    <a:solidFill>
                      <a:srgbClr val="CC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0635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46066986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747" y="152719"/>
            <a:ext cx="11887200" cy="775249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Một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và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khuyến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nghị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khá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ố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[1]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0" y="927968"/>
            <a:ext cx="12076253" cy="5930032"/>
          </a:xfr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ay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au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ực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iện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ố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phù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h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ép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ạ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ì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ã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ó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/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ti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iết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ạ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âu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ó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à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ã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he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ấy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(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ay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au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ó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ứ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phả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ước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ặt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ọ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ặc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iệt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ếu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ai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ó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ì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iên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ạ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uộc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ả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ăng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ị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í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ụ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“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ẹ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áu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ảo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à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ấy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uốn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áu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ước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ưa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bao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iờ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áu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”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ập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ung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ào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ự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áo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ác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iều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ã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ấy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he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ử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.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ưa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iểm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á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ân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í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ụ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“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ẹ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ường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ư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ích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con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ình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”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Quan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âm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ảo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ật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tin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ảm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ảo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ự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an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oàn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ản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ân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áo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o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phù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iết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ếu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ảm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ấy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ăng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ẳng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lo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ắng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am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ia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ào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ự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8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28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algn="just"/>
            <a:endParaRPr lang="en-AU" sz="28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822335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2719"/>
            <a:ext cx="12014522" cy="626215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Một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và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khuyến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nghị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khá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ố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[2]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0" y="778934"/>
            <a:ext cx="12191999" cy="6079066"/>
          </a:xfr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pPr algn="just">
              <a:spcBef>
                <a:spcPts val="600"/>
              </a:spcBef>
            </a:pPr>
            <a:endParaRPr lang="en-AU" sz="2000" dirty="0">
              <a:solidFill>
                <a:srgbClr val="000000"/>
              </a:solidFill>
            </a:endParaRPr>
          </a:p>
          <a:p>
            <a:pPr algn="just">
              <a:spcBef>
                <a:spcPts val="600"/>
              </a:spcBef>
            </a:pP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2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phần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ọng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ói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uyện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457200" indent="-457200" algn="just">
              <a:spcBef>
                <a:spcPts val="600"/>
              </a:spcBef>
              <a:buAutoNum type="arabicPeriod"/>
            </a:pP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Phầ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ò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uyệ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-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ãy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ử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ụ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ô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ữ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ột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ách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ơ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iả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o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phép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ác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ói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iều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ơn</a:t>
            </a:r>
            <a:endParaRPr lang="en-AU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457200" indent="-457200" algn="just">
              <a:spcBef>
                <a:spcPts val="600"/>
              </a:spcBef>
              <a:buAutoNum type="arabicPeriod"/>
            </a:pP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ảo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ật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tin –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ất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ả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à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ác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ói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ê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iữ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ảo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ật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ỉ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ể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u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ấp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o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ng</a:t>
            </a:r>
            <a:r>
              <a:rPr lang="vi-VN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ư</a:t>
            </a:r>
            <a:r>
              <a:rPr lang="en-US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ời</a:t>
            </a:r>
            <a:r>
              <a:rPr lang="en-US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US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ai</a:t>
            </a:r>
            <a:r>
              <a:rPr lang="en-US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ò</a:t>
            </a:r>
            <a:r>
              <a:rPr lang="en-US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ợ</a:t>
            </a:r>
            <a:r>
              <a:rPr lang="en-US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iúp</a:t>
            </a:r>
            <a:r>
              <a:rPr lang="en-US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US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en-AU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600"/>
              </a:spcBef>
            </a:pP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ói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uyện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ớn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u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ầu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ăm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óc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/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hi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ại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ành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vi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hi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ớ</a:t>
            </a:r>
            <a:r>
              <a:rPr lang="en-AU" sz="20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ứa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ẽ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iữ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í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ật</a:t>
            </a:r>
            <a:endParaRPr lang="en-AU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o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phép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ớ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ói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ra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ấ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ề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eo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ách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eo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ịp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ộ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riê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ọ</a:t>
            </a:r>
            <a:endParaRPr lang="en-AU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ù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âu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ỏi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ẫ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ắt</a:t>
            </a:r>
            <a:endParaRPr lang="en-AU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ập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u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ào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a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ói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uyệ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uy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iê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àm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o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ọ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ảm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ấy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a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ẩm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ấ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ọ</a:t>
            </a:r>
            <a:endParaRPr lang="en-AU" sz="20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ẳ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ại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ớ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ìm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iếm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ai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ó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iúp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ỡ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ầ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iết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ọ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oải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ái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ể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iệ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rằ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a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ắ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he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xem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xét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ì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ể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ọ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– ra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í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iệu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a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ắ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he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ư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ật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ầu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ói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“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ồ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”, “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ú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”...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ẳ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ớ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rằ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ẽ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ố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ắ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ể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o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ọi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ứ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ổ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oả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ành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iên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ác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ia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ình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à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a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lo </a:t>
            </a:r>
            <a:r>
              <a:rPr lang="en-AU" sz="20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ắng</a:t>
            </a:r>
            <a:r>
              <a:rPr lang="en-AU" sz="20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).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AU" sz="2000" dirty="0"/>
          </a:p>
          <a:p>
            <a:pPr algn="just">
              <a:spcBef>
                <a:spcPts val="600"/>
              </a:spcBef>
            </a:pPr>
            <a:endParaRPr lang="en-AU" sz="2000" dirty="0"/>
          </a:p>
        </p:txBody>
      </p:sp>
    </p:spTree>
    <p:extLst>
      <p:ext uri="{BB962C8B-B14F-4D97-AF65-F5344CB8AC3E}">
        <p14:creationId xmlns:p14="http://schemas.microsoft.com/office/powerpoint/2010/main" val="405742455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2719"/>
            <a:ext cx="12192000" cy="563607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Một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và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gợ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ý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uố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cùng</a:t>
            </a:r>
            <a:endParaRPr lang="en-AU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0" y="879675"/>
            <a:ext cx="12026096" cy="5978325"/>
          </a:xfr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pPr algn="just"/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ẫ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ắt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ớ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ở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ể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iế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ị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iả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hĩa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ính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xác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iế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ọ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ảm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ấy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ị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ẩm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ấ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 </a:t>
            </a:r>
          </a:p>
          <a:p>
            <a:pPr algn="just"/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ú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ta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ố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ắ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ể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ám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phá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iề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ơ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ì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à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ớ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ẵ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à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chia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ẻ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algn="just"/>
            <a:endParaRPr lang="en-AU" sz="2400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âu</a:t>
            </a:r>
            <a:r>
              <a:rPr lang="en-A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ỏi</a:t>
            </a:r>
            <a:r>
              <a:rPr lang="en-A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ẫn</a:t>
            </a:r>
            <a:r>
              <a:rPr lang="en-A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ắt</a:t>
            </a:r>
            <a:endParaRPr lang="en-AU" sz="2400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â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ỏ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à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â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ả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ờ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ợ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ý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ính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â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ỏ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í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ụ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“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ẹ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á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ánh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á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phả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”.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â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ả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ờ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ợ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ý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ở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ây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“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â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ẹ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ánh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á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”. </a:t>
            </a:r>
          </a:p>
          <a:p>
            <a:pPr algn="just"/>
            <a:endParaRPr lang="en-AU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Arial" panose="020B0604020202020204" pitchFamily="34" charset="0"/>
              <a:buChar char="•"/>
            </a:pP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ế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iết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ai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ánh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ì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ê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ợ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ý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ai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ể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ánh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ế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ớ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rằ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phả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ã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ó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ú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ta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ai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ánh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á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ì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ể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ắ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ế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ẹ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â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ỏ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algn="just">
              <a:buFont typeface="Arial" panose="020B0604020202020204" pitchFamily="34" charset="0"/>
              <a:buChar char="•"/>
            </a:pPr>
            <a:endParaRPr lang="en-AU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âu</a:t>
            </a:r>
            <a:r>
              <a:rPr lang="en-A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ỏi</a:t>
            </a:r>
            <a:r>
              <a:rPr lang="en-A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ẫn</a:t>
            </a:r>
            <a:r>
              <a:rPr lang="en-AU" sz="24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b="1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ắt</a:t>
            </a:r>
            <a:endParaRPr lang="en-AU" sz="2400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â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ỏ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o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phép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â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ả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ờ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ở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í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ụ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uyệ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ì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ã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xảy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ra?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á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ó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ể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ó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rõ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ơ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ô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? Sau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ó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uyệ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iễ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ra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ư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ế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ào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sz="24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920941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2718"/>
            <a:ext cx="12191999" cy="645008"/>
          </a:xfrm>
        </p:spPr>
        <p:txBody>
          <a:bodyPr>
            <a:normAutofit/>
          </a:bodyPr>
          <a:lstStyle/>
          <a:p>
            <a:pPr algn="ctr"/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Bảo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mật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3200" dirty="0" err="1"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US" sz="3200" dirty="0">
                <a:latin typeface="Times New Roman" pitchFamily="18" charset="0"/>
                <a:cs typeface="Times New Roman" pitchFamily="18" charset="0"/>
              </a:rPr>
              <a:t> tin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796665902"/>
              </p:ext>
            </p:extLst>
          </p:nvPr>
        </p:nvGraphicFramePr>
        <p:xfrm>
          <a:off x="0" y="1052736"/>
          <a:ext cx="12191999" cy="58052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86</a:t>
            </a:fld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1124191101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" y="152719"/>
            <a:ext cx="12191999" cy="547327"/>
          </a:xfrm>
        </p:spPr>
        <p:txBody>
          <a:bodyPr>
            <a:normAutofit/>
          </a:bodyPr>
          <a:lstStyle/>
          <a:p>
            <a:pPr algn="ctr"/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Bài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học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32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3200" dirty="0" err="1">
                <a:latin typeface="Times New Roman" pitchFamily="18" charset="0"/>
                <a:cs typeface="Times New Roman" pitchFamily="18" charset="0"/>
              </a:rPr>
              <a:t>trọng</a:t>
            </a:r>
            <a:endParaRPr lang="en-AU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-2" y="856526"/>
            <a:ext cx="12192000" cy="6212565"/>
          </a:xfrm>
        </p:spPr>
        <p:txBody>
          <a:bodyPr/>
          <a:lstStyle/>
          <a:p>
            <a:pPr algn="just"/>
            <a:r>
              <a:rPr lang="en-AU" sz="2400" u="sng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ột</a:t>
            </a:r>
            <a:r>
              <a:rPr lang="en-AU" sz="2400" u="sng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u="sng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ố</a:t>
            </a:r>
            <a:r>
              <a:rPr lang="en-AU" sz="2400" u="sng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u="sng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iểm</a:t>
            </a:r>
            <a:r>
              <a:rPr lang="en-AU" sz="2400" u="sng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u="sng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ấu</a:t>
            </a:r>
            <a:r>
              <a:rPr lang="en-AU" sz="2400" u="sng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u="sng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ốt</a:t>
            </a:r>
            <a:r>
              <a:rPr lang="en-AU" sz="2400" u="sng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u="sng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o</a:t>
            </a:r>
            <a:r>
              <a:rPr lang="en-AU" sz="2400" u="sng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u="sng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ày</a:t>
            </a:r>
            <a:r>
              <a:rPr lang="en-AU" sz="2400" u="sng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u="sng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ọc</a:t>
            </a:r>
            <a:endParaRPr lang="en-AU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en-AU" sz="2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h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ớ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;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uô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ập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u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ào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ảnh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áo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ế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ư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ấy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h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ạ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ẽ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ẳ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ì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ất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át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ế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ư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áo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ú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h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ớ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;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uô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ắc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ắ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rằ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iết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phả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àm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ì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qua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ạ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ớ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ột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ứa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ào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ó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h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ớ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ự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tin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ứ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ụ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iế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ức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iể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iết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ạ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kh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ố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iệ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ườ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em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h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ờ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ị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6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ầ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ăm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óc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oạ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ình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xâm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em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à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iểm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am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iế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ọ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âm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ô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ỗ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ợ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ủa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ú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t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h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ớ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iệc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XHTE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xảy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ra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ở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2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dạ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ính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ạo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ành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em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ỏ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ê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ế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một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o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2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loạ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ình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ày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xuất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iệ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ây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ổ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oặc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uy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ơ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ây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ổ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ạ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o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ì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ầ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phả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ố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gườ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phù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ợp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ớ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5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ước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ể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ố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hú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ý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ập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ô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tin,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ánh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giá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Quyết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ịnh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ố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áo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ê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được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hực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iệ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ế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có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những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í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hiệu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ề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sự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bất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ổn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xảy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ra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với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rẻ</a:t>
            </a:r>
            <a:r>
              <a:rPr lang="en-AU" sz="24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en-AU" sz="2400" dirty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Arial" panose="020B0604020202020204" pitchFamily="34" charset="0"/>
              <a:buChar char="•"/>
            </a:pPr>
            <a:endParaRPr lang="en-AU" sz="2400" dirty="0"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en-AU" sz="2400" dirty="0"/>
          </a:p>
        </p:txBody>
      </p:sp>
    </p:spTree>
    <p:extLst>
      <p:ext uri="{BB962C8B-B14F-4D97-AF65-F5344CB8AC3E}">
        <p14:creationId xmlns:p14="http://schemas.microsoft.com/office/powerpoint/2010/main" val="2890950277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êu đề phụ 2">
            <a:extLst>
              <a:ext uri="{FF2B5EF4-FFF2-40B4-BE49-F238E27FC236}">
                <a16:creationId xmlns:a16="http://schemas.microsoft.com/office/drawing/2014/main" id="{13EC04BA-9BC6-48C9-925E-E9A4FDE318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7841" y="1300163"/>
            <a:ext cx="11267440" cy="2631757"/>
          </a:xfrm>
        </p:spPr>
        <p:txBody>
          <a:bodyPr>
            <a:noAutofit/>
          </a:bodyPr>
          <a:lstStyle/>
          <a:p>
            <a:pPr algn="l">
              <a:lnSpc>
                <a:spcPct val="110000"/>
              </a:lnSpc>
            </a:pPr>
            <a:r>
              <a:rPr lang="en-US" altLang="vi-VN" sz="4000" b="1" i="1" dirty="0" err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S</a:t>
            </a:r>
            <a:r>
              <a:rPr lang="en-US" altLang="vi-VN" sz="4000" b="1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en-US" altLang="vi-VN" sz="4000" b="1" i="1" dirty="0" err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ỗ</a:t>
            </a:r>
            <a:r>
              <a:rPr lang="en-US" altLang="vi-VN" sz="4000" b="1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vi-VN" sz="4000" b="1" i="1" dirty="0" err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ị</a:t>
            </a:r>
            <a:r>
              <a:rPr lang="en-US" altLang="vi-VN" sz="4000" b="1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vi-VN" sz="4000" b="1" i="1" dirty="0" err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ích</a:t>
            </a:r>
            <a:r>
              <a:rPr lang="en-US" altLang="vi-VN" sz="4000" b="1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vi-VN" sz="4000" b="1" i="1" dirty="0" err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ảo</a:t>
            </a:r>
            <a:br>
              <a:rPr lang="en-US" altLang="vi-VN" sz="4000" b="1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vi-VN" sz="4000" b="1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. CTXH - ĐH. </a:t>
            </a:r>
            <a:r>
              <a:rPr lang="en-US" altLang="vi-VN" sz="4000" b="1" i="1" dirty="0" err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ư</a:t>
            </a:r>
            <a:r>
              <a:rPr lang="en-US" altLang="vi-VN" sz="4000" b="1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vi-VN" sz="4000" b="1" i="1" dirty="0" err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ạm</a:t>
            </a:r>
            <a:r>
              <a:rPr lang="en-US" altLang="vi-VN" sz="4000" b="1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vi-VN" sz="4000" b="1" i="1" dirty="0" err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à</a:t>
            </a:r>
            <a:r>
              <a:rPr lang="en-US" altLang="vi-VN" sz="4000" b="1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vi-VN" sz="4000" b="1" i="1" dirty="0" err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ội</a:t>
            </a:r>
            <a:br>
              <a:rPr lang="en-US" altLang="vi-VN" sz="4000" b="1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vi-VN" sz="4000" b="1" i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IỆN THOẠI 0902158556</a:t>
            </a:r>
            <a:endParaRPr lang="en-US" sz="4000" b="1" i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77013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F1AFDE-B4E8-464C-9779-54AF452975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0"/>
            <a:ext cx="12192000" cy="6857999"/>
          </a:xfrm>
          <a:solidFill>
            <a:schemeClr val="accent6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endParaRPr lang="en-AU" sz="1800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945359E6-924A-5641-8036-631AA659A522}"/>
              </a:ext>
            </a:extLst>
          </p:cNvPr>
          <p:cNvSpPr/>
          <p:nvPr/>
        </p:nvSpPr>
        <p:spPr>
          <a:xfrm>
            <a:off x="4076040" y="-14528"/>
            <a:ext cx="3481660" cy="1800036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Ban BVTE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xã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/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phường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(VT 4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24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Chủ</a:t>
            </a:r>
            <a:r>
              <a:rPr lang="en-AU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tich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(VT 1) &amp; Ban BVTE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thuộc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UBND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84CC5AD8-1C2D-4249-9941-0BFFFBB6D3CA}"/>
              </a:ext>
            </a:extLst>
          </p:cNvPr>
          <p:cNvSpPr/>
          <p:nvPr/>
        </p:nvSpPr>
        <p:spPr>
          <a:xfrm>
            <a:off x="1135750" y="1667620"/>
            <a:ext cx="1846185" cy="140850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Hội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Phụ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nữ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VT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(6)</a:t>
            </a: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C6EBA1B3-5D94-444F-8439-F2278D67744F}"/>
              </a:ext>
            </a:extLst>
          </p:cNvPr>
          <p:cNvSpPr/>
          <p:nvPr/>
        </p:nvSpPr>
        <p:spPr>
          <a:xfrm>
            <a:off x="3833421" y="3925798"/>
            <a:ext cx="3412026" cy="1590031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gười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àm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T BVTE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ấp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ã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</a:t>
            </a:r>
            <a:r>
              <a:rPr lang="en-AU" sz="2800" dirty="0">
                <a:solidFill>
                  <a:prstClr val="black"/>
                </a:solidFill>
                <a:latin typeface="Calibri" panose="020F0502020204030204"/>
              </a:rPr>
              <a:t>VT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3)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0191DA02-607B-424B-93BC-7E1E592A5BC5}"/>
              </a:ext>
            </a:extLst>
          </p:cNvPr>
          <p:cNvSpPr/>
          <p:nvPr/>
        </p:nvSpPr>
        <p:spPr>
          <a:xfrm>
            <a:off x="7980218" y="55543"/>
            <a:ext cx="3879271" cy="1143001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T CTXH tỉnh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/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iểm</a:t>
            </a:r>
            <a:r>
              <a:rPr lang="en-AU" sz="2400" dirty="0">
                <a:solidFill>
                  <a:prstClr val="black"/>
                </a:solidFill>
                <a:latin typeface="+mj-lt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+mj-lt"/>
              </a:rPr>
              <a:t>huấn</a:t>
            </a:r>
            <a:r>
              <a:rPr lang="en-AU" sz="2400" dirty="0">
                <a:solidFill>
                  <a:prstClr val="black"/>
                </a:solidFill>
                <a:latin typeface="+mj-lt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+mj-lt"/>
              </a:rPr>
              <a:t>chuyên</a:t>
            </a:r>
            <a:r>
              <a:rPr lang="en-AU" sz="2400" dirty="0">
                <a:solidFill>
                  <a:prstClr val="black"/>
                </a:solidFill>
                <a:latin typeface="+mj-lt"/>
              </a:rPr>
              <a:t> </a:t>
            </a:r>
            <a:r>
              <a:rPr lang="en-AU" sz="2400" dirty="0" err="1">
                <a:solidFill>
                  <a:prstClr val="black"/>
                </a:solidFill>
                <a:latin typeface="+mj-lt"/>
              </a:rPr>
              <a:t>môn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(</a:t>
            </a:r>
            <a:r>
              <a:rPr lang="en-AU" sz="2400" dirty="0">
                <a:solidFill>
                  <a:prstClr val="black"/>
                </a:solidFill>
                <a:latin typeface="+mj-lt"/>
              </a:rPr>
              <a:t>VT 10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)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970E990-6144-F942-BD98-40131015757E}"/>
              </a:ext>
            </a:extLst>
          </p:cNvPr>
          <p:cNvSpPr/>
          <p:nvPr/>
        </p:nvSpPr>
        <p:spPr>
          <a:xfrm>
            <a:off x="8174905" y="1739480"/>
            <a:ext cx="3594578" cy="1350717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vi-VN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NV CTXH tỉnh/huyện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/CB QLTH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cấp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cao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(VT 5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E157911-0C29-6D4C-8CEE-69E4AE68194B}"/>
              </a:ext>
            </a:extLst>
          </p:cNvPr>
          <p:cNvSpPr/>
          <p:nvPr/>
        </p:nvSpPr>
        <p:spPr>
          <a:xfrm>
            <a:off x="4180382" y="5906123"/>
            <a:ext cx="2623432" cy="97589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Cộng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tác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viên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(VT 4)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A7260D2-849E-1F4F-9297-EB4C764A5F20}"/>
              </a:ext>
            </a:extLst>
          </p:cNvPr>
          <p:cNvCxnSpPr>
            <a:cxnSpLocks/>
          </p:cNvCxnSpPr>
          <p:nvPr/>
        </p:nvCxnSpPr>
        <p:spPr>
          <a:xfrm>
            <a:off x="6934689" y="2591013"/>
            <a:ext cx="1" cy="38853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4CA947D4-801A-2C4F-BDF2-25ABEE7EF247}"/>
              </a:ext>
            </a:extLst>
          </p:cNvPr>
          <p:cNvCxnSpPr>
            <a:cxnSpLocks/>
          </p:cNvCxnSpPr>
          <p:nvPr/>
        </p:nvCxnSpPr>
        <p:spPr>
          <a:xfrm>
            <a:off x="6866391" y="6442100"/>
            <a:ext cx="87146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24F7967B-1BE2-764B-868D-0F1D26C14629}"/>
              </a:ext>
            </a:extLst>
          </p:cNvPr>
          <p:cNvSpPr/>
          <p:nvPr/>
        </p:nvSpPr>
        <p:spPr>
          <a:xfrm>
            <a:off x="4457375" y="2340758"/>
            <a:ext cx="2233753" cy="108824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CB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chính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sách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XH (VT 2)</a:t>
            </a: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743A825-8A60-2A47-9F7D-AD9ED38DBE13}"/>
              </a:ext>
            </a:extLst>
          </p:cNvPr>
          <p:cNvSpPr/>
          <p:nvPr/>
        </p:nvSpPr>
        <p:spPr>
          <a:xfrm>
            <a:off x="652100" y="4250280"/>
            <a:ext cx="1960838" cy="98040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Mặt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trận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TQ VT (6)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21F3B850-4D04-9443-8935-CCD398CEB808}"/>
              </a:ext>
            </a:extLst>
          </p:cNvPr>
          <p:cNvSpPr/>
          <p:nvPr/>
        </p:nvSpPr>
        <p:spPr>
          <a:xfrm>
            <a:off x="7737860" y="5826405"/>
            <a:ext cx="2751167" cy="85952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Công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a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[VT 9]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FB1F1871-904A-9445-9E5C-F8E8C03D0485}"/>
              </a:ext>
            </a:extLst>
          </p:cNvPr>
          <p:cNvSpPr/>
          <p:nvPr/>
        </p:nvSpPr>
        <p:spPr>
          <a:xfrm>
            <a:off x="8768348" y="4646316"/>
            <a:ext cx="3091137" cy="103216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B BVTE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gành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Y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ế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AU" sz="2400" dirty="0">
                <a:solidFill>
                  <a:prstClr val="black"/>
                </a:solidFill>
                <a:latin typeface="Calibri" panose="020F0502020204030204"/>
              </a:rPr>
              <a:t>[VT 8]</a:t>
            </a:r>
            <a:endParaRPr kumimoji="0" lang="en-A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A34505A-9F68-DB4C-A301-3EE2F15697A5}"/>
              </a:ext>
            </a:extLst>
          </p:cNvPr>
          <p:cNvSpPr/>
          <p:nvPr/>
        </p:nvSpPr>
        <p:spPr>
          <a:xfrm>
            <a:off x="7543112" y="3429000"/>
            <a:ext cx="3594578" cy="93507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CB BVTE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trường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</a:t>
            </a:r>
            <a:r>
              <a:rPr kumimoji="0" lang="en-AU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học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[VT 7] 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1A75FD82-97CC-704F-802A-1663E5FD4266}"/>
              </a:ext>
            </a:extLst>
          </p:cNvPr>
          <p:cNvSpPr/>
          <p:nvPr/>
        </p:nvSpPr>
        <p:spPr>
          <a:xfrm>
            <a:off x="652100" y="3298478"/>
            <a:ext cx="2326578" cy="82590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Đoàn</a:t>
            </a:r>
            <a:r>
              <a: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Thanh </a:t>
            </a:r>
            <a:r>
              <a:rPr kumimoji="0" lang="en-AU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Niên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VT</a:t>
            </a:r>
            <a:r>
              <a:rPr kumimoji="0" lang="en-A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(6)</a:t>
            </a:r>
          </a:p>
        </p:txBody>
      </p:sp>
      <p:sp>
        <p:nvSpPr>
          <p:cNvPr id="62" name="Up-down Arrow 61">
            <a:extLst>
              <a:ext uri="{FF2B5EF4-FFF2-40B4-BE49-F238E27FC236}">
                <a16:creationId xmlns:a16="http://schemas.microsoft.com/office/drawing/2014/main" id="{0DB5C803-6498-944B-9BB5-D54ED6278DE6}"/>
              </a:ext>
            </a:extLst>
          </p:cNvPr>
          <p:cNvSpPr/>
          <p:nvPr/>
        </p:nvSpPr>
        <p:spPr>
          <a:xfrm>
            <a:off x="5504998" y="1780974"/>
            <a:ext cx="440742" cy="535762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Up-down Arrow 62">
            <a:extLst>
              <a:ext uri="{FF2B5EF4-FFF2-40B4-BE49-F238E27FC236}">
                <a16:creationId xmlns:a16="http://schemas.microsoft.com/office/drawing/2014/main" id="{4CE562B3-66FF-1A46-AA24-ADB0DE13C4D6}"/>
              </a:ext>
            </a:extLst>
          </p:cNvPr>
          <p:cNvSpPr/>
          <p:nvPr/>
        </p:nvSpPr>
        <p:spPr>
          <a:xfrm>
            <a:off x="5315870" y="3390036"/>
            <a:ext cx="440742" cy="535762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15DE587-87E7-184B-8DD6-2E823E586ED6}"/>
              </a:ext>
            </a:extLst>
          </p:cNvPr>
          <p:cNvSpPr/>
          <p:nvPr/>
        </p:nvSpPr>
        <p:spPr>
          <a:xfrm>
            <a:off x="0" y="-24021"/>
            <a:ext cx="3515466" cy="134162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ơ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ấu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i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ò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ảo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ệ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ẻ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</a:t>
            </a:r>
            <a:endParaRPr kumimoji="0" lang="en-AU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430AB0-0408-324D-9007-76BBF82AD6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8D4FC6-5A75-F64B-8CE4-EDF8C7ADC0DF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Arrow: Up-Down 18">
            <a:extLst>
              <a:ext uri="{FF2B5EF4-FFF2-40B4-BE49-F238E27FC236}">
                <a16:creationId xmlns:a16="http://schemas.microsoft.com/office/drawing/2014/main" id="{84064A92-1593-4598-A15D-C5F707201368}"/>
              </a:ext>
            </a:extLst>
          </p:cNvPr>
          <p:cNvSpPr/>
          <p:nvPr/>
        </p:nvSpPr>
        <p:spPr>
          <a:xfrm>
            <a:off x="5433643" y="5510653"/>
            <a:ext cx="326728" cy="479407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Arrow: Up-Down 19">
            <a:extLst>
              <a:ext uri="{FF2B5EF4-FFF2-40B4-BE49-F238E27FC236}">
                <a16:creationId xmlns:a16="http://schemas.microsoft.com/office/drawing/2014/main" id="{577DF855-F43A-45F5-BF82-62C579379D44}"/>
              </a:ext>
            </a:extLst>
          </p:cNvPr>
          <p:cNvSpPr/>
          <p:nvPr/>
        </p:nvSpPr>
        <p:spPr>
          <a:xfrm>
            <a:off x="10314712" y="1198544"/>
            <a:ext cx="484632" cy="540936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CE9AE113-AF54-499B-B7CE-2A10ADB94804}"/>
              </a:ext>
            </a:extLst>
          </p:cNvPr>
          <p:cNvCxnSpPr>
            <a:cxnSpLocks/>
          </p:cNvCxnSpPr>
          <p:nvPr/>
        </p:nvCxnSpPr>
        <p:spPr>
          <a:xfrm>
            <a:off x="6933132" y="2566991"/>
            <a:ext cx="121996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D685401-2192-654B-922B-E450E0AA1D7E}"/>
              </a:ext>
            </a:extLst>
          </p:cNvPr>
          <p:cNvCxnSpPr>
            <a:cxnSpLocks/>
          </p:cNvCxnSpPr>
          <p:nvPr/>
        </p:nvCxnSpPr>
        <p:spPr>
          <a:xfrm>
            <a:off x="2981935" y="2596627"/>
            <a:ext cx="4803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5B8FB6AB-48E8-2B4A-80D7-3232CDB145F0}"/>
              </a:ext>
            </a:extLst>
          </p:cNvPr>
          <p:cNvCxnSpPr>
            <a:cxnSpLocks/>
          </p:cNvCxnSpPr>
          <p:nvPr/>
        </p:nvCxnSpPr>
        <p:spPr>
          <a:xfrm>
            <a:off x="3046241" y="3631791"/>
            <a:ext cx="4803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B35242B-E74F-4D4E-9A38-A9F8CCC2C0B2}"/>
              </a:ext>
            </a:extLst>
          </p:cNvPr>
          <p:cNvCxnSpPr>
            <a:cxnSpLocks/>
          </p:cNvCxnSpPr>
          <p:nvPr/>
        </p:nvCxnSpPr>
        <p:spPr>
          <a:xfrm>
            <a:off x="2612938" y="4641043"/>
            <a:ext cx="81329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71DF611-5C47-E741-9F72-59791E7A71E9}"/>
              </a:ext>
            </a:extLst>
          </p:cNvPr>
          <p:cNvCxnSpPr>
            <a:cxnSpLocks/>
          </p:cNvCxnSpPr>
          <p:nvPr/>
        </p:nvCxnSpPr>
        <p:spPr>
          <a:xfrm flipH="1">
            <a:off x="3452891" y="2352768"/>
            <a:ext cx="51474" cy="40893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D4D4F421-02DD-FA45-BE86-863EB28EB131}"/>
              </a:ext>
            </a:extLst>
          </p:cNvPr>
          <p:cNvCxnSpPr>
            <a:cxnSpLocks/>
          </p:cNvCxnSpPr>
          <p:nvPr/>
        </p:nvCxnSpPr>
        <p:spPr>
          <a:xfrm>
            <a:off x="3452890" y="2328746"/>
            <a:ext cx="90688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C2B65D43-BCB4-4147-B469-9247CD360278}"/>
              </a:ext>
            </a:extLst>
          </p:cNvPr>
          <p:cNvCxnSpPr>
            <a:cxnSpLocks/>
          </p:cNvCxnSpPr>
          <p:nvPr/>
        </p:nvCxnSpPr>
        <p:spPr>
          <a:xfrm>
            <a:off x="3452890" y="6378501"/>
            <a:ext cx="6371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134B972E-CEF2-E741-962C-BA476F8D3234}"/>
              </a:ext>
            </a:extLst>
          </p:cNvPr>
          <p:cNvCxnSpPr>
            <a:cxnSpLocks/>
          </p:cNvCxnSpPr>
          <p:nvPr/>
        </p:nvCxnSpPr>
        <p:spPr>
          <a:xfrm>
            <a:off x="6934689" y="3944440"/>
            <a:ext cx="554319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78FDE849-8759-E34E-B414-8B333376972A}"/>
              </a:ext>
            </a:extLst>
          </p:cNvPr>
          <p:cNvCxnSpPr>
            <a:cxnSpLocks/>
          </p:cNvCxnSpPr>
          <p:nvPr/>
        </p:nvCxnSpPr>
        <p:spPr>
          <a:xfrm>
            <a:off x="7245447" y="5175253"/>
            <a:ext cx="1522901" cy="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041F7592-FF0C-A744-BE80-D5312BC228C0}"/>
              </a:ext>
            </a:extLst>
          </p:cNvPr>
          <p:cNvCxnSpPr>
            <a:cxnSpLocks/>
          </p:cNvCxnSpPr>
          <p:nvPr/>
        </p:nvCxnSpPr>
        <p:spPr>
          <a:xfrm>
            <a:off x="11102309" y="3090197"/>
            <a:ext cx="0" cy="165637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7B2F7D82-950C-C345-ABDE-A5E561DFF84C}"/>
              </a:ext>
            </a:extLst>
          </p:cNvPr>
          <p:cNvSpPr/>
          <p:nvPr/>
        </p:nvSpPr>
        <p:spPr>
          <a:xfrm>
            <a:off x="827300" y="5371990"/>
            <a:ext cx="1846185" cy="140850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Các</a:t>
            </a:r>
            <a:r>
              <a:rPr lang="en-US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tổ</a:t>
            </a:r>
            <a:r>
              <a:rPr lang="en-US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chức</a:t>
            </a:r>
            <a:r>
              <a:rPr lang="en-US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từ</a:t>
            </a:r>
            <a:r>
              <a:rPr lang="en-US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thiện</a:t>
            </a:r>
            <a:r>
              <a:rPr lang="en-US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và</a:t>
            </a:r>
            <a:r>
              <a:rPr lang="en-US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phi </a:t>
            </a:r>
            <a:r>
              <a:rPr lang="en-US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lợi</a:t>
            </a:r>
            <a:r>
              <a:rPr lang="en-US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nhuận</a:t>
            </a:r>
            <a:r>
              <a:rPr lang="en-US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VT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(6)</a:t>
            </a:r>
            <a:endParaRPr kumimoji="0" lang="en-A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F06C2623-B0AF-904D-8214-B4F410F24CE2}"/>
              </a:ext>
            </a:extLst>
          </p:cNvPr>
          <p:cNvCxnSpPr>
            <a:cxnSpLocks/>
          </p:cNvCxnSpPr>
          <p:nvPr/>
        </p:nvCxnSpPr>
        <p:spPr>
          <a:xfrm>
            <a:off x="2741738" y="5970347"/>
            <a:ext cx="684497" cy="197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00650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itsL6vf0S6p170jMPFd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PPWpE5c0mCkl7SyPKx7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PPWpE5c0mCkl7SyPKx7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PPWpE5c0mCkl7SyPKx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PPWpE5c0mCkl7SyPKx7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PPWpE5c0mCkl7SyPKx7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PPWpE5c0mCkl7SyPKx7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PPWpE5c0mCkl7SyPKx7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PPWpE5c0mCkl7SyPKx7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PGaFSQY0i9zlwO0w8R3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b13TwD.EuArRwDBOoJ7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x1C691LkmvuLRFRjMqY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b13TwD.EuArRwDBOoJ7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b13TwD.EuArRwDBOoJ7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b13TwD.EuArRwDBOoJ7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b13TwD.EuArRwDBOoJ7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b13TwD.EuArRwDBOoJ7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b13TwD.EuArRwDBOoJ7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OXTwJS5025RSe4Is9h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PGaFSQY0i9zlwO0w8R3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thh1POY0G5WAbcm2De5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BaU8sBcES0BXi9cWQO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G4G6gDcEiDhYfSMzyNg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0DHRsiAUCH_iZqwMMql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PGaFSQY0i9zlwO0w8R3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thh1POY0G5WAbcm2De5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0DHRsiAUCH_iZqwMMql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0DHRsiAUCH_iZqwMMq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0DHRsiAUCH_iZqwMMq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djvQZzdU22TspvJp05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r7D_we0.selzjYV4I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9OdVFA5kKw4a2zTvMQ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r7D_we0.selzjYV4I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PPWpE5c0mCkl7SyPKx7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PPWpE5c0mCkl7SyPKx7Q"/>
</p:tagLst>
</file>

<file path=ppt/theme/theme1.xml><?xml version="1.0" encoding="utf-8"?>
<a:theme xmlns:a="http://schemas.openxmlformats.org/drawingml/2006/main" name="Giọt nhỏ">
  <a:themeElements>
    <a:clrScheme name="VàngCam Vàng">
      <a:dk1>
        <a:sysClr val="windowText" lastClr="000000"/>
      </a:dk1>
      <a:lt1>
        <a:sysClr val="window" lastClr="FFFFFF"/>
      </a:lt1>
      <a:dk2>
        <a:srgbClr val="4E3B30"/>
      </a:dk2>
      <a:lt2>
        <a:srgbClr val="FBEEC9"/>
      </a:lt2>
      <a:accent1>
        <a:srgbClr val="F0A22E"/>
      </a:accent1>
      <a:accent2>
        <a:srgbClr val="A5644E"/>
      </a:accent2>
      <a:accent3>
        <a:srgbClr val="B58B80"/>
      </a:accent3>
      <a:accent4>
        <a:srgbClr val="C3986D"/>
      </a:accent4>
      <a:accent5>
        <a:srgbClr val="A19574"/>
      </a:accent5>
      <a:accent6>
        <a:srgbClr val="C17529"/>
      </a:accent6>
      <a:hlink>
        <a:srgbClr val="AD1F1F"/>
      </a:hlink>
      <a:folHlink>
        <a:srgbClr val="FFC42F"/>
      </a:folHlink>
    </a:clrScheme>
    <a:fontScheme name="Droplet">
      <a:majorFont>
        <a:latin typeface="Tw Cen M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roplet">
      <a:fillStyleLst>
        <a:solidFill>
          <a:schemeClr val="phClr"/>
        </a:solidFill>
        <a:solidFill>
          <a:schemeClr val="phClr">
            <a:tint val="69000"/>
            <a:satMod val="105000"/>
            <a:lumMod val="110000"/>
          </a:schemeClr>
        </a:solidFill>
        <a:gradFill rotWithShape="1">
          <a:gsLst>
            <a:gs pos="0">
              <a:schemeClr val="phClr">
                <a:tint val="94000"/>
                <a:satMod val="100000"/>
                <a:lumMod val="108000"/>
              </a:schemeClr>
            </a:gs>
            <a:gs pos="50000">
              <a:schemeClr val="phClr">
                <a:tint val="98000"/>
                <a:shade val="100000"/>
                <a:satMod val="100000"/>
                <a:lumMod val="100000"/>
              </a:schemeClr>
            </a:gs>
            <a:gs pos="100000">
              <a:schemeClr val="phClr">
                <a:shade val="72000"/>
                <a:satMod val="12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60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63500" dist="25400" dir="5400000" algn="ctr" rotWithShape="0">
              <a:srgbClr val="000000">
                <a:alpha val="69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200000"/>
            </a:lightRig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4000"/>
                <a:shade val="100000"/>
                <a:hueMod val="92000"/>
                <a:satMod val="180000"/>
                <a:lumMod val="114000"/>
              </a:schemeClr>
            </a:gs>
            <a:gs pos="100000">
              <a:schemeClr val="phClr">
                <a:shade val="92000"/>
                <a:satMod val="170000"/>
                <a:lumMod val="96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roplet" id="{8984A317-299A-4E50-B45D-BFC9EDE2337A}" vid="{DEB094D4-7FD8-4F86-93D5-B0F1341EF58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6</TotalTime>
  <Words>11229</Words>
  <Application>Microsoft Office PowerPoint</Application>
  <PresentationFormat>Widescreen</PresentationFormat>
  <Paragraphs>833</Paragraphs>
  <Slides>88</Slides>
  <Notes>17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8</vt:i4>
      </vt:variant>
    </vt:vector>
  </HeadingPairs>
  <TitlesOfParts>
    <vt:vector size="96" baseType="lpstr">
      <vt:lpstr>Arial</vt:lpstr>
      <vt:lpstr>Calibri</vt:lpstr>
      <vt:lpstr>Calibri Light</vt:lpstr>
      <vt:lpstr>Tahoma</vt:lpstr>
      <vt:lpstr>Times New Roman</vt:lpstr>
      <vt:lpstr>Tw Cen MT</vt:lpstr>
      <vt:lpstr>Wingdings 3</vt:lpstr>
      <vt:lpstr>Giọt nhỏ</vt:lpstr>
      <vt:lpstr>TẬP HUẤN NĂNG LỰC THỰC HÀNH  BẢO VỆ TRẺ EM  CẤP ĐỘ 1</vt:lpstr>
      <vt:lpstr>Nội dung:</vt:lpstr>
      <vt:lpstr>PowerPoint Presentation</vt:lpstr>
      <vt:lpstr>PowerPoint Presentation</vt:lpstr>
      <vt:lpstr>PowerPoint Presentation</vt:lpstr>
      <vt:lpstr>Tầm quan trọng của việc BVTE</vt:lpstr>
      <vt:lpstr>Mục đích &amp; Mục tiêu của các dịch vụ BVTE</vt:lpstr>
      <vt:lpstr>PowerPoint Presentation</vt:lpstr>
      <vt:lpstr>PowerPoint Presentation</vt:lpstr>
      <vt:lpstr>Phân chia trách nhiệm vai trò BVTE – Cấp độ vai trò</vt:lpstr>
      <vt:lpstr>Bức tranh toàn cảnh về Các nhiệm vụ bảo vệ trẻ em ở Việt Nam</vt:lpstr>
      <vt:lpstr>Người bvte cấp độ 1 trong trường học là ai?</vt:lpstr>
      <vt:lpstr>Vai trò và trách nhiệm bảo vệ trẻ em của ngành Giáo dục &amp; Đào tạo – Trường học</vt:lpstr>
      <vt:lpstr>Năng lực cấp độ 1</vt:lpstr>
      <vt:lpstr>PowerPoint Presentation</vt:lpstr>
      <vt:lpstr> CÁC NHU CẦU CHĂM SÓC CỦA TRẺ EM </vt:lpstr>
      <vt:lpstr>PowerPoint Presentation</vt:lpstr>
      <vt:lpstr>Chúng tâm quan tâm đến 6 nhu cầu chăm sóc của trẻ</vt:lpstr>
      <vt:lpstr>Đáp ứng nhu cầu chăm sóc của trẻ em</vt:lpstr>
      <vt:lpstr>4 khía cạnh ảnh hưởng tới việc nhu cầu chăm sóc của trẻ có được đáp ứng phù hợp hay không</vt:lpstr>
      <vt:lpstr>Hiểm hoạ trong thế kỷ 21 với trẻ em</vt:lpstr>
      <vt:lpstr>Các vấn đề ở TK21 kết hợp với các nguy cơ đang tồn tại của trẻ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Xâm hại trẻ em là gì?</vt:lpstr>
      <vt:lpstr>Xâm hại trẻ em – Xảy ra như thế nào? Thông qua 2 nhóm hành vi</vt:lpstr>
      <vt:lpstr>AI CÓ THỂ LÀ NGƯỜI XÂM HẠI Trẻ em?</vt:lpstr>
      <vt:lpstr>Ai là kẻ xâm hại trẻ em?</vt:lpstr>
      <vt:lpstr>Hậu quả của XÂM HẠI trẻ em</vt:lpstr>
      <vt:lpstr>6 dạng XÂM HẠI trẻ em</vt:lpstr>
      <vt:lpstr>1. Xâm hại THỂ CHẤT</vt:lpstr>
      <vt:lpstr>2. Xâm hại Tâm lý</vt:lpstr>
      <vt:lpstr>3. Xâm hại cảm xúc</vt:lpstr>
      <vt:lpstr>4. Xâm hại tình dục</vt:lpstr>
      <vt:lpstr>thủ phạm là ai?</vt:lpstr>
      <vt:lpstr>Waralongkorn Janehat ‘Kru Nong’</vt:lpstr>
      <vt:lpstr>Mary Kay Letourneau</vt:lpstr>
      <vt:lpstr>Michael Lewis Clark</vt:lpstr>
      <vt:lpstr>Các hình thức XHTD TE</vt:lpstr>
      <vt:lpstr>5. Chứng kiến bạo lực gia đình</vt:lpstr>
      <vt:lpstr>6. Bóc lột lao động trẻ em</vt:lpstr>
      <vt:lpstr>7. XAO NHÃNG/BỎ MẶC</vt:lpstr>
      <vt:lpstr>Định nghĩa xao nhãng/bỏ mặc</vt:lpstr>
      <vt:lpstr>Hình thức xâm hại trẻ em</vt:lpstr>
      <vt:lpstr>PowerPoint Presentation</vt:lpstr>
      <vt:lpstr>PowerPoint Presentation</vt:lpstr>
      <vt:lpstr>PowerPoint Presentation</vt:lpstr>
      <vt:lpstr>PowerPoint Presentation</vt:lpstr>
      <vt:lpstr>Chỉ báo về xâm hại trẻ em</vt:lpstr>
      <vt:lpstr>PowerPoint Presentation</vt:lpstr>
      <vt:lpstr>PowerPoint Presentation</vt:lpstr>
      <vt:lpstr>Đi đến kết luận rằng một quan ngại là xâm hại trẻ em</vt:lpstr>
      <vt:lpstr>Các đặc tính thông thường giúp xác định một mối quan ngại về nhu cầu chăm sóc của trẻ là một cáo buộc về xâm hại trẻ em</vt:lpstr>
      <vt:lpstr>Cố gắng làm rõ về những lo lắng/quan ngại của chúng ta về một hành vi xâm hại trẻ em có thể xảy ra</vt:lpstr>
      <vt:lpstr>PowerPoint Presentation</vt:lpstr>
      <vt:lpstr> 1: Vai trò của việc TỐ CÁO.      </vt:lpstr>
      <vt:lpstr>Bắt buộc thông báo[TỐ CÁO] trường hợp xâm hại TE</vt:lpstr>
      <vt:lpstr>2 chiến lược để ứng phó với các vấn đề liên quan tới việc tố cáo</vt:lpstr>
      <vt:lpstr>Vai trò quan trọng của Định chuẩn về BVTE</vt:lpstr>
      <vt:lpstr>Định chuẩn BVTE</vt:lpstr>
      <vt:lpstr>2 khía cạnh của định chuẩn</vt:lpstr>
      <vt:lpstr>TỐ CÁO VIỆC XHTE</vt:lpstr>
      <vt:lpstr>Lưu ý tới những vấn đề liên quan tới trẻ</vt:lpstr>
      <vt:lpstr>Mối liên hệ giữa nhu cầu chăm sóc của TE và XHTE</vt:lpstr>
      <vt:lpstr>Chúng ta tìm kiếm thông tin gì để có thể nói cho CBBVTE về việc nghi ngại hoặc cáo buộc</vt:lpstr>
      <vt:lpstr>Thực hiện tố cáo – 5 bước</vt:lpstr>
      <vt:lpstr>Tiến trình tố cáo</vt:lpstr>
      <vt:lpstr>Bước 1: Chú ý</vt:lpstr>
      <vt:lpstr>Bước 2: Thu thập thông tin</vt:lpstr>
      <vt:lpstr>Bước 3: Đánh giá thông tin</vt:lpstr>
      <vt:lpstr>Tầm quan trọng của bước đánh giá</vt:lpstr>
      <vt:lpstr>Đánh giá – Ví dụ</vt:lpstr>
      <vt:lpstr>Bước 4: Quyết định thông báo tới đúng người</vt:lpstr>
      <vt:lpstr>Quyết định – Ví dụ</vt:lpstr>
      <vt:lpstr>Quyết đinh – Thông điệp chính</vt:lpstr>
      <vt:lpstr>Bước 5. Tố cáo – Tiến trình</vt:lpstr>
      <vt:lpstr>Tố cáo sự việc – Ví dụ</vt:lpstr>
      <vt:lpstr>Quy trình xử lý chính thức khi được báo có ca bạo lực/xâm hại</vt:lpstr>
      <vt:lpstr>Ghi chép – Ví dụ</vt:lpstr>
      <vt:lpstr>Một vài khuyến nghị khác khi tố cáo [1]</vt:lpstr>
      <vt:lpstr>Một vài khuyến nghị khác khi tố cáo [2]</vt:lpstr>
      <vt:lpstr>Một vài gợi ý cuối cùng</vt:lpstr>
      <vt:lpstr>Bảo mật thông tin</vt:lpstr>
      <vt:lpstr>Bài học quan trọng</vt:lpstr>
      <vt:lpstr>ThS. Đỗ Thị Bích Thảo K. CTXH - ĐH. Sư phạm Hà Nội ĐIỆN THOẠI 0902158556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ẬP HUẤN NĂNG LỰC THỰC HÀNH  BẢO VỆ TRẺ EM  CẤP ĐỘ 1</dc:title>
  <dc:creator>thao.dobich@gmail.com</dc:creator>
  <cp:lastModifiedBy>KINH BAC</cp:lastModifiedBy>
  <cp:revision>81</cp:revision>
  <dcterms:created xsi:type="dcterms:W3CDTF">2020-10-28T16:20:38Z</dcterms:created>
  <dcterms:modified xsi:type="dcterms:W3CDTF">2020-12-10T04:43:05Z</dcterms:modified>
</cp:coreProperties>
</file>